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modernComment_30E_561BDEF2.xml" ContentType="application/vnd.ms-powerpoint.comments+xml"/>
  <Override PartName="/ppt/comments/modernComment_316_27AED165.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omments/modernComment_319_3CCA6652.xml" ContentType="application/vnd.ms-powerpoint.comments+xml"/>
  <Override PartName="/ppt/notesSlides/notesSlide3.xml" ContentType="application/vnd.openxmlformats-officedocument.presentationml.notesSlide+xml"/>
  <Override PartName="/ppt/comments/modernComment_31D_FE8CE52B.xml" ContentType="application/vnd.ms-powerpoint.comments+xml"/>
  <Override PartName="/ppt/notesSlides/notesSlide4.xml" ContentType="application/vnd.openxmlformats-officedocument.presentationml.notesSlide+xml"/>
  <Override PartName="/ppt/comments/modernComment_32A_59E0258F.xml" ContentType="application/vnd.ms-powerpoint.comments+xml"/>
  <Override PartName="/ppt/comments/modernComment_325_B75540C5.xml" ContentType="application/vnd.ms-powerpoint.comments+xml"/>
  <Override PartName="/ppt/notesSlides/notesSlide5.xml" ContentType="application/vnd.openxmlformats-officedocument.presentationml.notesSlide+xml"/>
  <Override PartName="/ppt/comments/modernComment_333_D4C697CF.xml" ContentType="application/vnd.ms-powerpoint.comments+xml"/>
  <Override PartName="/ppt/notesSlides/notesSlide6.xml" ContentType="application/vnd.openxmlformats-officedocument.presentationml.notesSlide+xml"/>
  <Override PartName="/ppt/comments/modernComment_334_62818D6C.xml" ContentType="application/vnd.ms-powerpoint.comments+xml"/>
  <Override PartName="/ppt/notesSlides/notesSlide7.xml" ContentType="application/vnd.openxmlformats-officedocument.presentationml.notesSlide+xml"/>
  <Override PartName="/ppt/comments/modernComment_335_68885970.xml" ContentType="application/vnd.ms-powerpoint.comments+xml"/>
  <Override PartName="/ppt/notesSlides/notesSlide8.xml" ContentType="application/vnd.openxmlformats-officedocument.presentationml.notesSlide+xml"/>
  <Override PartName="/ppt/comments/modernComment_329_170BC622.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331_B630ED2E.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290_2873BE67.xml" ContentType="application/vnd.ms-powerpoint.comments+xml"/>
  <Override PartName="/ppt/notesSlides/notesSlide20.xml" ContentType="application/vnd.openxmlformats-officedocument.presentationml.notesSlide+xml"/>
  <Override PartName="/ppt/comments/modernComment_33F_A50407F1.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modernComment_2C7_EA05BB82.xml" ContentType="application/vnd.ms-powerpoint.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modernComment_322_75F3E2F4.xml" ContentType="application/vnd.ms-powerpoint.comments+xml"/>
  <Override PartName="/ppt/notesSlides/notesSlide33.xml" ContentType="application/vnd.openxmlformats-officedocument.presentationml.notesSlide+xml"/>
  <Override PartName="/ppt/comments/modernComment_300_B71D6359.xml" ContentType="application/vnd.ms-powerpoint.comments+xml"/>
  <Override PartName="/ppt/notesSlides/notesSlide34.xml" ContentType="application/vnd.openxmlformats-officedocument.presentationml.notesSlide+xml"/>
  <Override PartName="/ppt/comments/modernComment_301_1BAB5F3.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851" r:id="rId5"/>
  </p:sldMasterIdLst>
  <p:notesMasterIdLst>
    <p:notesMasterId r:id="rId46"/>
  </p:notesMasterIdLst>
  <p:handoutMasterIdLst>
    <p:handoutMasterId r:id="rId47"/>
  </p:handoutMasterIdLst>
  <p:sldIdLst>
    <p:sldId id="803" r:id="rId6"/>
    <p:sldId id="782" r:id="rId7"/>
    <p:sldId id="790" r:id="rId8"/>
    <p:sldId id="793" r:id="rId9"/>
    <p:sldId id="797" r:id="rId10"/>
    <p:sldId id="810" r:id="rId11"/>
    <p:sldId id="805" r:id="rId12"/>
    <p:sldId id="819" r:id="rId13"/>
    <p:sldId id="823" r:id="rId14"/>
    <p:sldId id="820" r:id="rId15"/>
    <p:sldId id="821" r:id="rId16"/>
    <p:sldId id="809" r:id="rId17"/>
    <p:sldId id="828" r:id="rId18"/>
    <p:sldId id="826" r:id="rId19"/>
    <p:sldId id="815" r:id="rId20"/>
    <p:sldId id="817" r:id="rId21"/>
    <p:sldId id="813" r:id="rId22"/>
    <p:sldId id="788" r:id="rId23"/>
    <p:sldId id="829" r:id="rId24"/>
    <p:sldId id="830" r:id="rId25"/>
    <p:sldId id="827" r:id="rId26"/>
    <p:sldId id="292" r:id="rId27"/>
    <p:sldId id="656" r:id="rId28"/>
    <p:sldId id="831" r:id="rId29"/>
    <p:sldId id="808" r:id="rId30"/>
    <p:sldId id="816" r:id="rId31"/>
    <p:sldId id="807" r:id="rId32"/>
    <p:sldId id="801" r:id="rId33"/>
    <p:sldId id="708" r:id="rId34"/>
    <p:sldId id="804" r:id="rId35"/>
    <p:sldId id="711" r:id="rId36"/>
    <p:sldId id="274" r:id="rId37"/>
    <p:sldId id="709" r:id="rId38"/>
    <p:sldId id="659" r:id="rId39"/>
    <p:sldId id="660" r:id="rId40"/>
    <p:sldId id="802" r:id="rId41"/>
    <p:sldId id="766" r:id="rId42"/>
    <p:sldId id="768" r:id="rId43"/>
    <p:sldId id="769" r:id="rId44"/>
    <p:sldId id="77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D049E8DA-7CE5-144B-BA7B-088C2F27E85C}">
          <p14:sldIdLst>
            <p14:sldId id="803"/>
          </p14:sldIdLst>
        </p14:section>
        <p14:section name="Slide Examples" id="{ECCA461A-FAB9-294F-BF46-9452BCFAA2B6}">
          <p14:sldIdLst>
            <p14:sldId id="782"/>
            <p14:sldId id="790"/>
            <p14:sldId id="793"/>
            <p14:sldId id="797"/>
            <p14:sldId id="810"/>
            <p14:sldId id="805"/>
            <p14:sldId id="819"/>
            <p14:sldId id="823"/>
            <p14:sldId id="820"/>
            <p14:sldId id="821"/>
            <p14:sldId id="809"/>
            <p14:sldId id="828"/>
            <p14:sldId id="826"/>
            <p14:sldId id="815"/>
            <p14:sldId id="817"/>
            <p14:sldId id="813"/>
            <p14:sldId id="788"/>
            <p14:sldId id="829"/>
            <p14:sldId id="830"/>
            <p14:sldId id="827"/>
            <p14:sldId id="292"/>
            <p14:sldId id="656"/>
            <p14:sldId id="831"/>
            <p14:sldId id="808"/>
            <p14:sldId id="816"/>
            <p14:sldId id="807"/>
            <p14:sldId id="801"/>
            <p14:sldId id="708"/>
            <p14:sldId id="804"/>
          </p14:sldIdLst>
        </p14:section>
        <p14:section name="Optional Slides" id="{1933D7E0-A56C-364B-B9C1-F4804C93DD95}">
          <p14:sldIdLst>
            <p14:sldId id="711"/>
          </p14:sldIdLst>
        </p14:section>
        <p14:section name="For Church Leaders (optional)" id="{8427DAA2-0F55-3D4C-97B7-E822F7BC02E1}">
          <p14:sldIdLst>
            <p14:sldId id="274"/>
            <p14:sldId id="709"/>
            <p14:sldId id="659"/>
            <p14:sldId id="660"/>
            <p14:sldId id="802"/>
          </p14:sldIdLst>
        </p14:section>
        <p14:section name="EnglishConnect (optional)" id="{B1EDC4D8-FC83-064A-BB1A-28B635183587}">
          <p14:sldIdLst>
            <p14:sldId id="766"/>
            <p14:sldId id="768"/>
            <p14:sldId id="769"/>
            <p14:sldId id="770"/>
          </p14:sldIdLst>
        </p14:section>
      </p14:sectionLst>
    </p:ext>
    <p:ext uri="{EFAFB233-063F-42B5-8137-9DF3F51BA10A}">
      <p15:sldGuideLst xmlns:p15="http://schemas.microsoft.com/office/powerpoint/2012/main">
        <p15:guide id="1" orient="horz" pos="249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85D405-1711-1831-477F-C787C7AED583}" name="Brian T. Fogelberg" initials="BTF" userId="S::btfogelberg@churchofjesuschrist.org::1f6ae3f9-19fc-49dd-9903-364b80dd3a35" providerId="AD"/>
  <p188:author id="{C8B20735-A759-B601-A480-7F78478AA43C}" name="Eric Eames" initials="EE" userId="S::ezeames@churchofjesuschrist.org::06bdddd5-1534-4c97-9705-6ccfbde64bab" providerId="AD"/>
  <p188:author id="{72C0B539-49F2-F39A-CA35-868BD0F2DB07}" name="Breanne Su'a" initials="BS" userId="S::brichards111@churchofjesuschrist.org::af39664e-f38d-4a6d-a5e8-a9728706e250" providerId="AD"/>
  <p188:author id="{7F53F03F-B685-1726-08D6-9131CED005D3}" name="Krista Tripodi" initials="KT" userId="S::ktrip42@churchofjesuschrist.org::59ef1354-abc1-481b-9b04-be6e7a4c3fbd" providerId="AD"/>
  <p188:author id="{93B88151-D505-7EBB-F9A3-C8CAD05C723D}" name="Lauren Conrad" initials="LC" userId="S::laursie14@churchofjesuschrist.org::43194ccc-e327-4119-97b4-bf00d6fecdd1" providerId="AD"/>
  <p188:author id="{B3D1B85B-17E4-EE27-E05D-40C5009AA99C}" name="Heidi Jean Harms" initials="HH" userId="S::heidiharms@churchofjesuschrist.org::b7342844-2534-4d4b-8710-0632f461dd8c" providerId="AD"/>
  <p188:author id="{FED73FBC-A036-D1F6-3299-491A76AB1ED9}" name="Kamile Walker" initials="KW" userId="S::kamiwalker@churchofjesuschrist.org::a6eb77e7-33bd-4c57-a3cf-538d131ebd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an T. Fogelberg" initials="BTF" lastIdx="18" clrIdx="0">
    <p:extLst>
      <p:ext uri="{19B8F6BF-5375-455C-9EA6-DF929625EA0E}">
        <p15:presenceInfo xmlns:p15="http://schemas.microsoft.com/office/powerpoint/2012/main" userId="S::btfogelberg@ldschurch.org::1f6ae3f9-19fc-49dd-9903-364b80dd3a35" providerId="AD"/>
      </p:ext>
    </p:extLst>
  </p:cmAuthor>
  <p:cmAuthor id="2" name="Emily Slade" initials="ES" lastIdx="2" clrIdx="1">
    <p:extLst>
      <p:ext uri="{19B8F6BF-5375-455C-9EA6-DF929625EA0E}">
        <p15:presenceInfo xmlns:p15="http://schemas.microsoft.com/office/powerpoint/2012/main" userId="S::emilymslade@ldschurch.org::f8fe3680-90cc-453f-bc07-4f3cd29feb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A929D"/>
    <a:srgbClr val="454540"/>
    <a:srgbClr val="000000"/>
    <a:srgbClr val="656365"/>
    <a:srgbClr val="E2EEF0"/>
    <a:srgbClr val="B3DCE7"/>
    <a:srgbClr val="A7CCD5"/>
    <a:srgbClr val="EBF7FA"/>
    <a:srgbClr val="EDEFF4"/>
    <a:srgbClr val="6BAB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60"/>
    <p:restoredTop sz="94694"/>
  </p:normalViewPr>
  <p:slideViewPr>
    <p:cSldViewPr snapToGrid="0">
      <p:cViewPr varScale="1">
        <p:scale>
          <a:sx n="98" d="100"/>
          <a:sy n="98" d="100"/>
        </p:scale>
        <p:origin x="184" y="688"/>
      </p:cViewPr>
      <p:guideLst>
        <p:guide orient="horz" pos="2496"/>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T. Fogelberg" userId="1f6ae3f9-19fc-49dd-9903-364b80dd3a35" providerId="ADAL" clId="{C7221B5F-A665-2C45-AB98-95BA8115F2D3}"/>
    <pc:docChg chg="modSld">
      <pc:chgData name="Brian T. Fogelberg" userId="1f6ae3f9-19fc-49dd-9903-364b80dd3a35" providerId="ADAL" clId="{C7221B5F-A665-2C45-AB98-95BA8115F2D3}" dt="2023-08-10T14:30:06.464" v="2" actId="14100"/>
      <pc:docMkLst>
        <pc:docMk/>
      </pc:docMkLst>
      <pc:sldChg chg="modSp mod">
        <pc:chgData name="Brian T. Fogelberg" userId="1f6ae3f9-19fc-49dd-9903-364b80dd3a35" providerId="ADAL" clId="{C7221B5F-A665-2C45-AB98-95BA8115F2D3}" dt="2023-08-10T14:30:06.464" v="2" actId="14100"/>
        <pc:sldMkLst>
          <pc:docMk/>
          <pc:sldMk cId="3075817669" sldId="805"/>
        </pc:sldMkLst>
        <pc:spChg chg="mod">
          <ac:chgData name="Brian T. Fogelberg" userId="1f6ae3f9-19fc-49dd-9903-364b80dd3a35" providerId="ADAL" clId="{C7221B5F-A665-2C45-AB98-95BA8115F2D3}" dt="2023-08-10T14:30:06.464" v="2" actId="14100"/>
          <ac:spMkLst>
            <pc:docMk/>
            <pc:sldMk cId="3075817669" sldId="805"/>
            <ac:spMk id="13" creationId="{9AFACB6B-8F7A-9A50-B603-C4DB727958A5}"/>
          </ac:spMkLst>
        </pc:spChg>
        <pc:spChg chg="mod">
          <ac:chgData name="Brian T. Fogelberg" userId="1f6ae3f9-19fc-49dd-9903-364b80dd3a35" providerId="ADAL" clId="{C7221B5F-A665-2C45-AB98-95BA8115F2D3}" dt="2023-08-10T14:30:02.798" v="1" actId="1076"/>
          <ac:spMkLst>
            <pc:docMk/>
            <pc:sldMk cId="3075817669" sldId="805"/>
            <ac:spMk id="17" creationId="{5550BE1B-AFCC-B7D5-9AA6-23335220E768}"/>
          </ac:spMkLst>
        </pc:spChg>
        <pc:spChg chg="mod">
          <ac:chgData name="Brian T. Fogelberg" userId="1f6ae3f9-19fc-49dd-9903-364b80dd3a35" providerId="ADAL" clId="{C7221B5F-A665-2C45-AB98-95BA8115F2D3}" dt="2023-08-10T14:30:02.798" v="1" actId="1076"/>
          <ac:spMkLst>
            <pc:docMk/>
            <pc:sldMk cId="3075817669" sldId="805"/>
            <ac:spMk id="34" creationId="{416DF48E-CA52-29A7-3796-A2B845252115}"/>
          </ac:spMkLst>
        </pc:spChg>
        <pc:picChg chg="mod">
          <ac:chgData name="Brian T. Fogelberg" userId="1f6ae3f9-19fc-49dd-9903-364b80dd3a35" providerId="ADAL" clId="{C7221B5F-A665-2C45-AB98-95BA8115F2D3}" dt="2023-08-10T14:30:02.798" v="1" actId="1076"/>
          <ac:picMkLst>
            <pc:docMk/>
            <pc:sldMk cId="3075817669" sldId="805"/>
            <ac:picMk id="14" creationId="{50D12EBC-6B69-6CDD-13CD-B93740B79817}"/>
          </ac:picMkLst>
        </pc:picChg>
      </pc:sldChg>
    </pc:docChg>
  </pc:docChgLst>
  <pc:docChgLst>
    <pc:chgData name="Brian T. Fogelberg" userId="1f6ae3f9-19fc-49dd-9903-364b80dd3a35" providerId="ADAL" clId="{1967A09C-1A5C-774D-AC26-AC7303568825}"/>
    <pc:docChg chg="modSld">
      <pc:chgData name="Brian T. Fogelberg" userId="1f6ae3f9-19fc-49dd-9903-364b80dd3a35" providerId="ADAL" clId="{1967A09C-1A5C-774D-AC26-AC7303568825}" dt="2024-01-31T17:18:35.053" v="3" actId="20577"/>
      <pc:docMkLst>
        <pc:docMk/>
      </pc:docMkLst>
      <pc:sldChg chg="modSp mod modCm">
        <pc:chgData name="Brian T. Fogelberg" userId="1f6ae3f9-19fc-49dd-9903-364b80dd3a35" providerId="ADAL" clId="{1967A09C-1A5C-774D-AC26-AC7303568825}" dt="2024-01-31T17:18:35.053" v="3" actId="20577"/>
        <pc:sldMkLst>
          <pc:docMk/>
          <pc:sldMk cId="4270646571" sldId="797"/>
        </pc:sldMkLst>
        <pc:spChg chg="mod">
          <ac:chgData name="Brian T. Fogelberg" userId="1f6ae3f9-19fc-49dd-9903-364b80dd3a35" providerId="ADAL" clId="{1967A09C-1A5C-774D-AC26-AC7303568825}" dt="2024-01-31T17:18:35.053" v="3" actId="20577"/>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mod">
              <pc226:chgData name="Brian T. Fogelberg" userId="1f6ae3f9-19fc-49dd-9903-364b80dd3a35" providerId="ADAL" clId="{1967A09C-1A5C-774D-AC26-AC7303568825}" dt="2024-01-31T17:18:35.053" v="3" actId="20577"/>
              <pc2:cmMkLst xmlns:pc2="http://schemas.microsoft.com/office/powerpoint/2019/9/main/command">
                <pc:docMk/>
                <pc:sldMk cId="4270646571" sldId="797"/>
                <pc2:cmMk id="{3F2E588A-4D41-432C-B87B-71B86327A7DD}"/>
              </pc2:cmMkLst>
            </pc226:cmChg>
            <pc226:cmChg xmlns:pc226="http://schemas.microsoft.com/office/powerpoint/2022/06/main/command" chg="mod">
              <pc226:chgData name="Brian T. Fogelberg" userId="1f6ae3f9-19fc-49dd-9903-364b80dd3a35" providerId="ADAL" clId="{1967A09C-1A5C-774D-AC26-AC7303568825}" dt="2024-01-31T17:18:35.053" v="3" actId="20577"/>
              <pc2:cmMkLst xmlns:pc2="http://schemas.microsoft.com/office/powerpoint/2019/9/main/command">
                <pc:docMk/>
                <pc:sldMk cId="4270646571" sldId="797"/>
                <pc2:cmMk id="{543242B0-4028-42AD-86B1-B662E375E943}"/>
              </pc2:cmMkLst>
            </pc226:cmChg>
          </p:ext>
        </pc:extLst>
      </pc:sldChg>
    </pc:docChg>
  </pc:docChgLst>
  <pc:docChgLst>
    <pc:chgData name="Kamile Walker" userId="S::kamiwalker@churchofjesuschrist.org::a6eb77e7-33bd-4c57-a3cf-538d131ebd75" providerId="AD" clId="Web-{2B5EFB1E-017B-47C7-7AFB-E01302A2E439}"/>
    <pc:docChg chg="modSld">
      <pc:chgData name="Kamile Walker" userId="S::kamiwalker@churchofjesuschrist.org::a6eb77e7-33bd-4c57-a3cf-538d131ebd75" providerId="AD" clId="Web-{2B5EFB1E-017B-47C7-7AFB-E01302A2E439}" dt="2023-07-21T19:20:14.476" v="11" actId="1076"/>
      <pc:docMkLst>
        <pc:docMk/>
      </pc:docMkLst>
      <pc:sldChg chg="modSp">
        <pc:chgData name="Kamile Walker" userId="S::kamiwalker@churchofjesuschrist.org::a6eb77e7-33bd-4c57-a3cf-538d131ebd75" providerId="AD" clId="Web-{2B5EFB1E-017B-47C7-7AFB-E01302A2E439}" dt="2023-07-21T19:20:14.476" v="11" actId="1076"/>
        <pc:sldMkLst>
          <pc:docMk/>
          <pc:sldMk cId="2999881190" sldId="788"/>
        </pc:sldMkLst>
        <pc:spChg chg="mod">
          <ac:chgData name="Kamile Walker" userId="S::kamiwalker@churchofjesuschrist.org::a6eb77e7-33bd-4c57-a3cf-538d131ebd75" providerId="AD" clId="Web-{2B5EFB1E-017B-47C7-7AFB-E01302A2E439}" dt="2023-07-21T19:20:14.476" v="11" actId="1076"/>
          <ac:spMkLst>
            <pc:docMk/>
            <pc:sldMk cId="2999881190" sldId="788"/>
            <ac:spMk id="13" creationId="{E1815725-512E-9048-88FA-51D8CFFF78C2}"/>
          </ac:spMkLst>
        </pc:spChg>
        <pc:spChg chg="mod">
          <ac:chgData name="Kamile Walker" userId="S::kamiwalker@churchofjesuschrist.org::a6eb77e7-33bd-4c57-a3cf-538d131ebd75" providerId="AD" clId="Web-{2B5EFB1E-017B-47C7-7AFB-E01302A2E439}" dt="2023-07-21T19:20:14.445" v="10" actId="14100"/>
          <ac:spMkLst>
            <pc:docMk/>
            <pc:sldMk cId="2999881190" sldId="788"/>
            <ac:spMk id="16" creationId="{62544AEE-9FDC-214D-8A9F-476D5C29C398}"/>
          </ac:spMkLst>
        </pc:spChg>
      </pc:sldChg>
      <pc:sldChg chg="modSp">
        <pc:chgData name="Kamile Walker" userId="S::kamiwalker@churchofjesuschrist.org::a6eb77e7-33bd-4c57-a3cf-538d131ebd75" providerId="AD" clId="Web-{2B5EFB1E-017B-47C7-7AFB-E01302A2E439}" dt="2023-07-21T19:10:55.373" v="8" actId="20577"/>
        <pc:sldMkLst>
          <pc:docMk/>
          <pc:sldMk cId="3075817669" sldId="805"/>
        </pc:sldMkLst>
        <pc:spChg chg="mod">
          <ac:chgData name="Kamile Walker" userId="S::kamiwalker@churchofjesuschrist.org::a6eb77e7-33bd-4c57-a3cf-538d131ebd75" providerId="AD" clId="Web-{2B5EFB1E-017B-47C7-7AFB-E01302A2E439}" dt="2023-07-21T19:10:55.373" v="8" actId="20577"/>
          <ac:spMkLst>
            <pc:docMk/>
            <pc:sldMk cId="3075817669" sldId="805"/>
            <ac:spMk id="5" creationId="{85A8D91E-9E2B-3E60-BC05-352ECCCECD29}"/>
          </ac:spMkLst>
        </pc:spChg>
      </pc:sldChg>
    </pc:docChg>
  </pc:docChgLst>
  <pc:docChgLst>
    <pc:chgData name="Krista Tripodi" userId="S::ktrip42@churchofjesuschrist.org::59ef1354-abc1-481b-9b04-be6e7a4c3fbd" providerId="AD" clId="Web-{B2B17137-7821-136B-27DB-41CD3762CF4E}"/>
    <pc:docChg chg="">
      <pc:chgData name="Krista Tripodi" userId="S::ktrip42@churchofjesuschrist.org::59ef1354-abc1-481b-9b04-be6e7a4c3fbd" providerId="AD" clId="Web-{B2B17137-7821-136B-27DB-41CD3762CF4E}" dt="2023-07-26T16:47:05.508" v="0"/>
      <pc:docMkLst>
        <pc:docMk/>
      </pc:docMkLst>
      <pc:sldChg chg="modCm">
        <pc:chgData name="Krista Tripodi" userId="S::ktrip42@churchofjesuschrist.org::59ef1354-abc1-481b-9b04-be6e7a4c3fbd" providerId="AD" clId="Web-{B2B17137-7821-136B-27DB-41CD3762CF4E}" dt="2023-07-26T16:47:05.508" v="0"/>
        <pc:sldMkLst>
          <pc:docMk/>
          <pc:sldMk cId="2768504817" sldId="831"/>
        </pc:sldMkLst>
        <pc:extLst>
          <p:ext xmlns:p="http://schemas.openxmlformats.org/presentationml/2006/main" uri="{D6D511B9-2390-475A-947B-AFAB55BFBCF1}">
            <pc226:cmChg xmlns:pc226="http://schemas.microsoft.com/office/powerpoint/2022/06/main/command" chg="">
              <pc226:chgData name="Krista Tripodi" userId="S::ktrip42@churchofjesuschrist.org::59ef1354-abc1-481b-9b04-be6e7a4c3fbd" providerId="AD" clId="Web-{B2B17137-7821-136B-27DB-41CD3762CF4E}" dt="2023-07-26T16:47:05.508" v="0"/>
              <pc2:cmMkLst xmlns:pc2="http://schemas.microsoft.com/office/powerpoint/2019/9/main/command">
                <pc:docMk/>
                <pc:sldMk cId="2768504817" sldId="831"/>
                <pc2:cmMk id="{16F1ADD8-1499-453E-B5B4-BE47789FB7A6}"/>
              </pc2:cmMkLst>
              <pc226:cmRplyChg chg="add">
                <pc226:chgData name="Krista Tripodi" userId="S::ktrip42@churchofjesuschrist.org::59ef1354-abc1-481b-9b04-be6e7a4c3fbd" providerId="AD" clId="Web-{B2B17137-7821-136B-27DB-41CD3762CF4E}" dt="2023-07-26T16:47:05.508" v="0"/>
                <pc2:cmRplyMkLst xmlns:pc2="http://schemas.microsoft.com/office/powerpoint/2019/9/main/command">
                  <pc:docMk/>
                  <pc:sldMk cId="2768504817" sldId="831"/>
                  <pc2:cmMk id="{16F1ADD8-1499-453E-B5B4-BE47789FB7A6}"/>
                  <pc2:cmRplyMk id="{C1F94FBA-6AB8-4FE3-ADB6-F853A210B56F}"/>
                </pc2:cmRplyMkLst>
              </pc226:cmRplyChg>
            </pc226:cmChg>
          </p:ext>
        </pc:extLst>
      </pc:sldChg>
    </pc:docChg>
  </pc:docChgLst>
  <pc:docChgLst>
    <pc:chgData name="Kamile Walker" userId="S::kamiwalker@churchofjesuschrist.org::a6eb77e7-33bd-4c57-a3cf-538d131ebd75" providerId="AD" clId="Web-{E235BB7D-0D1D-E209-962C-101D38CC9CAB}"/>
    <pc:docChg chg="modSld">
      <pc:chgData name="Kamile Walker" userId="S::kamiwalker@churchofjesuschrist.org::a6eb77e7-33bd-4c57-a3cf-538d131ebd75" providerId="AD" clId="Web-{E235BB7D-0D1D-E209-962C-101D38CC9CAB}" dt="2023-08-07T16:33:45.715" v="95" actId="1076"/>
      <pc:docMkLst>
        <pc:docMk/>
      </pc:docMkLst>
      <pc:sldChg chg="modSp modCm">
        <pc:chgData name="Kamile Walker" userId="S::kamiwalker@churchofjesuschrist.org::a6eb77e7-33bd-4c57-a3cf-538d131ebd75" providerId="AD" clId="Web-{E235BB7D-0D1D-E209-962C-101D38CC9CAB}" dt="2023-08-07T14:22:14.111" v="0" actId="20577"/>
        <pc:sldMkLst>
          <pc:docMk/>
          <pc:sldMk cId="1444667122" sldId="782"/>
        </pc:sldMkLst>
        <pc:spChg chg="mod">
          <ac:chgData name="Kamile Walker" userId="S::kamiwalker@churchofjesuschrist.org::a6eb77e7-33bd-4c57-a3cf-538d131ebd75" providerId="AD" clId="Web-{E235BB7D-0D1D-E209-962C-101D38CC9CAB}" dt="2023-08-07T14:22:14.111" v="0" actId="20577"/>
          <ac:spMkLst>
            <pc:docMk/>
            <pc:sldMk cId="1444667122" sldId="782"/>
            <ac:spMk id="28" creationId="{2DF252B8-74CF-F44D-9C66-D414C0B370E9}"/>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E235BB7D-0D1D-E209-962C-101D38CC9CAB}" dt="2023-08-07T14:22:14.111" v="0" actId="20577"/>
              <pc2:cmMkLst xmlns:pc2="http://schemas.microsoft.com/office/powerpoint/2019/9/main/command">
                <pc:docMk/>
                <pc:sldMk cId="1444667122" sldId="782"/>
                <pc2:cmMk id="{6E71DF39-8A5A-4250-AFC9-4B3310203DD7}"/>
              </pc2:cmMkLst>
            </pc226:cmChg>
          </p:ext>
        </pc:extLst>
      </pc:sldChg>
      <pc:sldChg chg="modSp modCm">
        <pc:chgData name="Kamile Walker" userId="S::kamiwalker@churchofjesuschrist.org::a6eb77e7-33bd-4c57-a3cf-538d131ebd75" providerId="AD" clId="Web-{E235BB7D-0D1D-E209-962C-101D38CC9CAB}" dt="2023-08-07T14:22:59.097" v="6" actId="20577"/>
        <pc:sldMkLst>
          <pc:docMk/>
          <pc:sldMk cId="665768293" sldId="790"/>
        </pc:sldMkLst>
        <pc:spChg chg="mod">
          <ac:chgData name="Kamile Walker" userId="S::kamiwalker@churchofjesuschrist.org::a6eb77e7-33bd-4c57-a3cf-538d131ebd75" providerId="AD" clId="Web-{E235BB7D-0D1D-E209-962C-101D38CC9CAB}" dt="2023-08-07T14:22:55.065" v="5" actId="20577"/>
          <ac:spMkLst>
            <pc:docMk/>
            <pc:sldMk cId="665768293" sldId="790"/>
            <ac:spMk id="2" creationId="{7A1C276B-2A33-C049-AEF8-5AF88AD11664}"/>
          </ac:spMkLst>
        </pc:spChg>
        <pc:spChg chg="mod">
          <ac:chgData name="Kamile Walker" userId="S::kamiwalker@churchofjesuschrist.org::a6eb77e7-33bd-4c57-a3cf-538d131ebd75" providerId="AD" clId="Web-{E235BB7D-0D1D-E209-962C-101D38CC9CAB}" dt="2023-08-07T14:22:59.097" v="6" actId="20577"/>
          <ac:spMkLst>
            <pc:docMk/>
            <pc:sldMk cId="665768293" sldId="790"/>
            <ac:spMk id="6" creationId="{BD44D150-ABF4-D14A-BE79-37F452EC4044}"/>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E235BB7D-0D1D-E209-962C-101D38CC9CAB}" dt="2023-08-07T14:22:59.097" v="6" actId="20577"/>
              <pc2:cmMkLst xmlns:pc2="http://schemas.microsoft.com/office/powerpoint/2019/9/main/command">
                <pc:docMk/>
                <pc:sldMk cId="665768293" sldId="790"/>
                <pc2:cmMk id="{9E5C040C-D67B-42CB-A927-ADA7C628791C}"/>
              </pc2:cmMkLst>
            </pc226:cmChg>
          </p:ext>
        </pc:extLst>
      </pc:sldChg>
      <pc:sldChg chg="modSp modCm">
        <pc:chgData name="Kamile Walker" userId="S::kamiwalker@churchofjesuschrist.org::a6eb77e7-33bd-4c57-a3cf-538d131ebd75" providerId="AD" clId="Web-{E235BB7D-0D1D-E209-962C-101D38CC9CAB}" dt="2023-08-07T14:30:11.800" v="58" actId="20577"/>
        <pc:sldMkLst>
          <pc:docMk/>
          <pc:sldMk cId="1019897426" sldId="793"/>
        </pc:sldMkLst>
        <pc:spChg chg="mod">
          <ac:chgData name="Kamile Walker" userId="S::kamiwalker@churchofjesuschrist.org::a6eb77e7-33bd-4c57-a3cf-538d131ebd75" providerId="AD" clId="Web-{E235BB7D-0D1D-E209-962C-101D38CC9CAB}" dt="2023-08-07T14:30:11.800" v="58" actId="20577"/>
          <ac:spMkLst>
            <pc:docMk/>
            <pc:sldMk cId="1019897426" sldId="793"/>
            <ac:spMk id="3" creationId="{2198D0CB-A244-3645-93EF-5E47B40A5F95}"/>
          </ac:spMkLst>
        </pc:spChg>
        <pc:spChg chg="mod">
          <ac:chgData name="Kamile Walker" userId="S::kamiwalker@churchofjesuschrist.org::a6eb77e7-33bd-4c57-a3cf-538d131ebd75" providerId="AD" clId="Web-{E235BB7D-0D1D-E209-962C-101D38CC9CAB}" dt="2023-08-07T14:27:34.201" v="50" actId="20577"/>
          <ac:spMkLst>
            <pc:docMk/>
            <pc:sldMk cId="1019897426" sldId="793"/>
            <ac:spMk id="4" creationId="{F181B19D-8554-ED4C-8221-8D164BD2AE03}"/>
          </ac:spMkLst>
        </pc:spChg>
        <pc:spChg chg="mod">
          <ac:chgData name="Kamile Walker" userId="S::kamiwalker@churchofjesuschrist.org::a6eb77e7-33bd-4c57-a3cf-538d131ebd75" providerId="AD" clId="Web-{E235BB7D-0D1D-E209-962C-101D38CC9CAB}" dt="2023-08-07T14:25:51.041" v="41" actId="20577"/>
          <ac:spMkLst>
            <pc:docMk/>
            <pc:sldMk cId="1019897426" sldId="793"/>
            <ac:spMk id="5" creationId="{0335E6F8-EF19-6242-8508-519A043B3930}"/>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E235BB7D-0D1D-E209-962C-101D38CC9CAB}" dt="2023-08-07T14:29:34.955" v="56" actId="20577"/>
              <pc2:cmMkLst xmlns:pc2="http://schemas.microsoft.com/office/powerpoint/2019/9/main/command">
                <pc:docMk/>
                <pc:sldMk cId="1019897426" sldId="793"/>
                <pc2:cmMk id="{E3187D3A-DAA3-4534-926A-6506DC9B3EF1}"/>
              </pc2:cmMkLst>
            </pc226:cmChg>
            <pc226:cmChg xmlns:pc226="http://schemas.microsoft.com/office/powerpoint/2022/06/main/command" chg="mod">
              <pc226:chgData name="Kamile Walker" userId="S::kamiwalker@churchofjesuschrist.org::a6eb77e7-33bd-4c57-a3cf-538d131ebd75" providerId="AD" clId="Web-{E235BB7D-0D1D-E209-962C-101D38CC9CAB}" dt="2023-08-07T14:26:49.168" v="49" actId="20577"/>
              <pc2:cmMkLst xmlns:pc2="http://schemas.microsoft.com/office/powerpoint/2019/9/main/command">
                <pc:docMk/>
                <pc:sldMk cId="1019897426" sldId="793"/>
                <pc2:cmMk id="{ED23395A-5E56-4A5A-8CC4-7C02A57AAF7A}"/>
              </pc2:cmMkLst>
            </pc226:cmChg>
            <pc226:cmChg xmlns:pc226="http://schemas.microsoft.com/office/powerpoint/2022/06/main/command" chg="mod">
              <pc226:chgData name="Kamile Walker" userId="S::kamiwalker@churchofjesuschrist.org::a6eb77e7-33bd-4c57-a3cf-538d131ebd75" providerId="AD" clId="Web-{E235BB7D-0D1D-E209-962C-101D38CC9CAB}" dt="2023-08-07T14:25:40.400" v="40" actId="20577"/>
              <pc2:cmMkLst xmlns:pc2="http://schemas.microsoft.com/office/powerpoint/2019/9/main/command">
                <pc:docMk/>
                <pc:sldMk cId="1019897426" sldId="793"/>
                <pc2:cmMk id="{4D16BF64-35A6-4CC5-9D36-48DAA51F7B0B}"/>
              </pc2:cmMkLst>
            </pc226:cmChg>
            <pc226:cmChg xmlns:pc226="http://schemas.microsoft.com/office/powerpoint/2022/06/main/command" chg="mod">
              <pc226:chgData name="Kamile Walker" userId="S::kamiwalker@churchofjesuschrist.org::a6eb77e7-33bd-4c57-a3cf-538d131ebd75" providerId="AD" clId="Web-{E235BB7D-0D1D-E209-962C-101D38CC9CAB}" dt="2023-08-07T14:26:49.168" v="49" actId="20577"/>
              <pc2:cmMkLst xmlns:pc2="http://schemas.microsoft.com/office/powerpoint/2019/9/main/command">
                <pc:docMk/>
                <pc:sldMk cId="1019897426" sldId="793"/>
                <pc2:cmMk id="{366C0182-F5D1-419C-945D-3EA435664B19}"/>
              </pc2:cmMkLst>
            </pc226:cmChg>
            <pc226:cmChg xmlns:pc226="http://schemas.microsoft.com/office/powerpoint/2022/06/main/command" chg="mod">
              <pc226:chgData name="Kamile Walker" userId="S::kamiwalker@churchofjesuschrist.org::a6eb77e7-33bd-4c57-a3cf-538d131ebd75" providerId="AD" clId="Web-{E235BB7D-0D1D-E209-962C-101D38CC9CAB}" dt="2023-08-07T14:29:34.955" v="56" actId="20577"/>
              <pc2:cmMkLst xmlns:pc2="http://schemas.microsoft.com/office/powerpoint/2019/9/main/command">
                <pc:docMk/>
                <pc:sldMk cId="1019897426" sldId="793"/>
                <pc2:cmMk id="{14961392-DB7B-4871-A9E7-C488F7B3A894}"/>
              </pc2:cmMkLst>
            </pc226:cmChg>
            <pc226:cmChg xmlns:pc226="http://schemas.microsoft.com/office/powerpoint/2022/06/main/command" chg="mod">
              <pc226:chgData name="Kamile Walker" userId="S::kamiwalker@churchofjesuschrist.org::a6eb77e7-33bd-4c57-a3cf-538d131ebd75" providerId="AD" clId="Web-{E235BB7D-0D1D-E209-962C-101D38CC9CAB}" dt="2023-08-07T14:30:05.581" v="57"/>
              <pc2:cmMkLst xmlns:pc2="http://schemas.microsoft.com/office/powerpoint/2019/9/main/command">
                <pc:docMk/>
                <pc:sldMk cId="1019897426" sldId="793"/>
                <pc2:cmMk id="{76494493-F25A-410B-BEFA-F7743C981B79}"/>
              </pc2:cmMkLst>
              <pc226:cmRplyChg chg="add">
                <pc226:chgData name="Kamile Walker" userId="S::kamiwalker@churchofjesuschrist.org::a6eb77e7-33bd-4c57-a3cf-538d131ebd75" providerId="AD" clId="Web-{E235BB7D-0D1D-E209-962C-101D38CC9CAB}" dt="2023-08-07T14:30:05.581" v="57"/>
                <pc2:cmRplyMkLst xmlns:pc2="http://schemas.microsoft.com/office/powerpoint/2019/9/main/command">
                  <pc:docMk/>
                  <pc:sldMk cId="1019897426" sldId="793"/>
                  <pc2:cmMk id="{76494493-F25A-410B-BEFA-F7743C981B79}"/>
                  <pc2:cmRplyMk id="{D33D6876-8F43-4538-9A63-CE0D6DE22FB3}"/>
                </pc2:cmRplyMkLst>
              </pc226:cmRplyChg>
            </pc226:cmChg>
            <pc226:cmChg xmlns:pc226="http://schemas.microsoft.com/office/powerpoint/2022/06/main/command" chg="mod">
              <pc226:chgData name="Kamile Walker" userId="S::kamiwalker@churchofjesuschrist.org::a6eb77e7-33bd-4c57-a3cf-538d131ebd75" providerId="AD" clId="Web-{E235BB7D-0D1D-E209-962C-101D38CC9CAB}" dt="2023-08-07T14:26:49.168" v="49" actId="20577"/>
              <pc2:cmMkLst xmlns:pc2="http://schemas.microsoft.com/office/powerpoint/2019/9/main/command">
                <pc:docMk/>
                <pc:sldMk cId="1019897426" sldId="793"/>
                <pc2:cmMk id="{C22CCCBC-415C-4F77-B53C-BBD2C30F3715}"/>
              </pc2:cmMkLst>
            </pc226:cmChg>
          </p:ext>
        </pc:extLst>
      </pc:sldChg>
      <pc:sldChg chg="modSp modCm">
        <pc:chgData name="Kamile Walker" userId="S::kamiwalker@churchofjesuschrist.org::a6eb77e7-33bd-4c57-a3cf-538d131ebd75" providerId="AD" clId="Web-{E235BB7D-0D1D-E209-962C-101D38CC9CAB}" dt="2023-08-07T14:30:44.551" v="64" actId="20577"/>
        <pc:sldMkLst>
          <pc:docMk/>
          <pc:sldMk cId="4270646571" sldId="797"/>
        </pc:sldMkLst>
        <pc:spChg chg="mod">
          <ac:chgData name="Kamile Walker" userId="S::kamiwalker@churchofjesuschrist.org::a6eb77e7-33bd-4c57-a3cf-538d131ebd75" providerId="AD" clId="Web-{E235BB7D-0D1D-E209-962C-101D38CC9CAB}" dt="2023-08-07T14:30:44.551" v="64" actId="20577"/>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E235BB7D-0D1D-E209-962C-101D38CC9CAB}" dt="2023-08-07T14:30:43.176" v="63" actId="20577"/>
              <pc2:cmMkLst xmlns:pc2="http://schemas.microsoft.com/office/powerpoint/2019/9/main/command">
                <pc:docMk/>
                <pc:sldMk cId="4270646571" sldId="797"/>
                <pc2:cmMk id="{3F2E588A-4D41-432C-B87B-71B86327A7DD}"/>
              </pc2:cmMkLst>
            </pc226:cmChg>
            <pc226:cmChg xmlns:pc226="http://schemas.microsoft.com/office/powerpoint/2022/06/main/command" chg="mod">
              <pc226:chgData name="Kamile Walker" userId="S::kamiwalker@churchofjesuschrist.org::a6eb77e7-33bd-4c57-a3cf-538d131ebd75" providerId="AD" clId="Web-{E235BB7D-0D1D-E209-962C-101D38CC9CAB}" dt="2023-08-07T14:30:43.176" v="63" actId="20577"/>
              <pc2:cmMkLst xmlns:pc2="http://schemas.microsoft.com/office/powerpoint/2019/9/main/command">
                <pc:docMk/>
                <pc:sldMk cId="4270646571" sldId="797"/>
                <pc2:cmMk id="{543242B0-4028-42AD-86B1-B662E375E943}"/>
              </pc2:cmMkLst>
            </pc226:cmChg>
          </p:ext>
        </pc:extLst>
      </pc:sldChg>
      <pc:sldChg chg="modSp modCm">
        <pc:chgData name="Kamile Walker" userId="S::kamiwalker@churchofjesuschrist.org::a6eb77e7-33bd-4c57-a3cf-538d131ebd75" providerId="AD" clId="Web-{E235BB7D-0D1D-E209-962C-101D38CC9CAB}" dt="2023-08-07T16:33:45.715" v="95" actId="1076"/>
        <pc:sldMkLst>
          <pc:docMk/>
          <pc:sldMk cId="3075817669" sldId="805"/>
        </pc:sldMkLst>
        <pc:spChg chg="mod">
          <ac:chgData name="Kamile Walker" userId="S::kamiwalker@churchofjesuschrist.org::a6eb77e7-33bd-4c57-a3cf-538d131ebd75" providerId="AD" clId="Web-{E235BB7D-0D1D-E209-962C-101D38CC9CAB}" dt="2023-08-07T16:33:45.715" v="95" actId="1076"/>
          <ac:spMkLst>
            <pc:docMk/>
            <pc:sldMk cId="3075817669" sldId="805"/>
            <ac:spMk id="16" creationId="{B17D727E-1028-802B-8045-03F792C5CB36}"/>
          </ac:spMkLst>
        </pc:spChg>
        <pc:spChg chg="mod">
          <ac:chgData name="Kamile Walker" userId="S::kamiwalker@churchofjesuschrist.org::a6eb77e7-33bd-4c57-a3cf-538d131ebd75" providerId="AD" clId="Web-{E235BB7D-0D1D-E209-962C-101D38CC9CAB}" dt="2023-08-07T16:33:34.012" v="92" actId="1076"/>
          <ac:spMkLst>
            <pc:docMk/>
            <pc:sldMk cId="3075817669" sldId="805"/>
            <ac:spMk id="20" creationId="{5A77A19F-CD5E-F7C5-B11F-5ED8EEE3C2D3}"/>
          </ac:spMkLst>
        </pc:spChg>
        <pc:spChg chg="mod">
          <ac:chgData name="Kamile Walker" userId="S::kamiwalker@churchofjesuschrist.org::a6eb77e7-33bd-4c57-a3cf-538d131ebd75" providerId="AD" clId="Web-{E235BB7D-0D1D-E209-962C-101D38CC9CAB}" dt="2023-08-07T16:33:07.761" v="84" actId="1076"/>
          <ac:spMkLst>
            <pc:docMk/>
            <pc:sldMk cId="3075817669" sldId="805"/>
            <ac:spMk id="22" creationId="{B0BAD8DB-C2EB-1BBC-245C-7102B156F40B}"/>
          </ac:spMkLst>
        </pc:spChg>
        <pc:spChg chg="mod">
          <ac:chgData name="Kamile Walker" userId="S::kamiwalker@churchofjesuschrist.org::a6eb77e7-33bd-4c57-a3cf-538d131ebd75" providerId="AD" clId="Web-{E235BB7D-0D1D-E209-962C-101D38CC9CAB}" dt="2023-08-07T16:33:28.605" v="90" actId="1076"/>
          <ac:spMkLst>
            <pc:docMk/>
            <pc:sldMk cId="3075817669" sldId="805"/>
            <ac:spMk id="28" creationId="{62ACE691-91C0-FDA2-05C2-6B489DA36E0B}"/>
          </ac:spMkLst>
        </pc:spChg>
        <pc:spChg chg="mod">
          <ac:chgData name="Kamile Walker" userId="S::kamiwalker@churchofjesuschrist.org::a6eb77e7-33bd-4c57-a3cf-538d131ebd75" providerId="AD" clId="Web-{E235BB7D-0D1D-E209-962C-101D38CC9CAB}" dt="2023-08-07T16:33:17.902" v="86" actId="1076"/>
          <ac:spMkLst>
            <pc:docMk/>
            <pc:sldMk cId="3075817669" sldId="805"/>
            <ac:spMk id="30" creationId="{8AC79D5D-8AB4-1C8B-D4C6-7F14711042AB}"/>
          </ac:spMkLst>
        </pc:spChg>
        <pc:spChg chg="mod">
          <ac:chgData name="Kamile Walker" userId="S::kamiwalker@churchofjesuschrist.org::a6eb77e7-33bd-4c57-a3cf-538d131ebd75" providerId="AD" clId="Web-{E235BB7D-0D1D-E209-962C-101D38CC9CAB}" dt="2023-08-07T16:33:41.606" v="94" actId="1076"/>
          <ac:spMkLst>
            <pc:docMk/>
            <pc:sldMk cId="3075817669" sldId="805"/>
            <ac:spMk id="33" creationId="{5A89F0E6-E75F-91DF-0CE7-8B1C9BE587FF}"/>
          </ac:spMkLst>
        </pc:spChg>
        <pc:picChg chg="mod">
          <ac:chgData name="Kamile Walker" userId="S::kamiwalker@churchofjesuschrist.org::a6eb77e7-33bd-4c57-a3cf-538d131ebd75" providerId="AD" clId="Web-{E235BB7D-0D1D-E209-962C-101D38CC9CAB}" dt="2023-08-07T16:33:33.980" v="91" actId="1076"/>
          <ac:picMkLst>
            <pc:docMk/>
            <pc:sldMk cId="3075817669" sldId="805"/>
            <ac:picMk id="19" creationId="{F3D214B1-0C2F-5127-97FB-39A108EA25B7}"/>
          </ac:picMkLst>
        </pc:picChg>
        <pc:picChg chg="mod">
          <ac:chgData name="Kamile Walker" userId="S::kamiwalker@churchofjesuschrist.org::a6eb77e7-33bd-4c57-a3cf-538d131ebd75" providerId="AD" clId="Web-{E235BB7D-0D1D-E209-962C-101D38CC9CAB}" dt="2023-08-07T16:33:07.714" v="83" actId="1076"/>
          <ac:picMkLst>
            <pc:docMk/>
            <pc:sldMk cId="3075817669" sldId="805"/>
            <ac:picMk id="21" creationId="{A61257DE-BA9A-D21C-C0DD-05CD2B3EAD6F}"/>
          </ac:picMkLst>
        </pc:picChg>
        <pc:picChg chg="mod">
          <ac:chgData name="Kamile Walker" userId="S::kamiwalker@churchofjesuschrist.org::a6eb77e7-33bd-4c57-a3cf-538d131ebd75" providerId="AD" clId="Web-{E235BB7D-0D1D-E209-962C-101D38CC9CAB}" dt="2023-08-07T16:33:28.574" v="89" actId="1076"/>
          <ac:picMkLst>
            <pc:docMk/>
            <pc:sldMk cId="3075817669" sldId="805"/>
            <ac:picMk id="26" creationId="{E0125AB4-B442-B6E2-1EBA-9C3D81E2E5F7}"/>
          </ac:picMkLst>
        </pc:picChg>
        <pc:picChg chg="mod">
          <ac:chgData name="Kamile Walker" userId="S::kamiwalker@churchofjesuschrist.org::a6eb77e7-33bd-4c57-a3cf-538d131ebd75" providerId="AD" clId="Web-{E235BB7D-0D1D-E209-962C-101D38CC9CAB}" dt="2023-08-07T16:33:17.871" v="85" actId="1076"/>
          <ac:picMkLst>
            <pc:docMk/>
            <pc:sldMk cId="3075817669" sldId="805"/>
            <ac:picMk id="29" creationId="{50238DB1-1FA4-DFDF-8190-EA495C01ED55}"/>
          </ac:picMkLst>
        </pc:picChg>
        <pc:picChg chg="mod">
          <ac:chgData name="Kamile Walker" userId="S::kamiwalker@churchofjesuschrist.org::a6eb77e7-33bd-4c57-a3cf-538d131ebd75" providerId="AD" clId="Web-{E235BB7D-0D1D-E209-962C-101D38CC9CAB}" dt="2023-08-07T16:33:41.574" v="93" actId="1076"/>
          <ac:picMkLst>
            <pc:docMk/>
            <pc:sldMk cId="3075817669" sldId="805"/>
            <ac:picMk id="32" creationId="{205B6630-5704-5994-DB97-47B0810C0A17}"/>
          </ac:picMkLst>
        </pc:pic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E235BB7D-0D1D-E209-962C-101D38CC9CAB}" dt="2023-08-07T16:31:47.634" v="76" actId="20577"/>
              <pc2:cmMkLst xmlns:pc2="http://schemas.microsoft.com/office/powerpoint/2019/9/main/command">
                <pc:docMk/>
                <pc:sldMk cId="3075817669" sldId="805"/>
                <pc2:cmMk id="{47D82991-887B-4118-8B31-EF4FC8115C68}"/>
              </pc2:cmMkLst>
            </pc226:cmChg>
          </p:ext>
        </pc:extLst>
      </pc:sldChg>
      <pc:sldChg chg="addSp delSp modSp">
        <pc:chgData name="Kamile Walker" userId="S::kamiwalker@churchofjesuschrist.org::a6eb77e7-33bd-4c57-a3cf-538d131ebd75" providerId="AD" clId="Web-{E235BB7D-0D1D-E209-962C-101D38CC9CAB}" dt="2023-08-07T16:27:48.924" v="67"/>
        <pc:sldMkLst>
          <pc:docMk/>
          <pc:sldMk cId="1507861903" sldId="810"/>
        </pc:sldMkLst>
        <pc:picChg chg="add del mod">
          <ac:chgData name="Kamile Walker" userId="S::kamiwalker@churchofjesuschrist.org::a6eb77e7-33bd-4c57-a3cf-538d131ebd75" providerId="AD" clId="Web-{E235BB7D-0D1D-E209-962C-101D38CC9CAB}" dt="2023-08-07T16:27:48.924" v="67"/>
          <ac:picMkLst>
            <pc:docMk/>
            <pc:sldMk cId="1507861903" sldId="810"/>
            <ac:picMk id="3" creationId="{DD47FAD8-AD10-E57E-FBD1-C7CEB01A552A}"/>
          </ac:picMkLst>
        </pc:picChg>
      </pc:sldChg>
    </pc:docChg>
  </pc:docChgLst>
  <pc:docChgLst>
    <pc:chgData name="Heidi Jean Harms" userId="S::heidiharms@churchofjesuschrist.org::b7342844-2534-4d4b-8710-0632f461dd8c" providerId="AD" clId="Web-{B0F8F665-5B23-692B-4411-DCED4D6CE914}"/>
    <pc:docChg chg="mod modSld">
      <pc:chgData name="Heidi Jean Harms" userId="S::heidiharms@churchofjesuschrist.org::b7342844-2534-4d4b-8710-0632f461dd8c" providerId="AD" clId="Web-{B0F8F665-5B23-692B-4411-DCED4D6CE914}" dt="2023-07-25T14:36:36.264" v="9"/>
      <pc:docMkLst>
        <pc:docMk/>
      </pc:docMkLst>
      <pc:sldChg chg="addCm">
        <pc:chgData name="Heidi Jean Harms" userId="S::heidiharms@churchofjesuschrist.org::b7342844-2534-4d4b-8710-0632f461dd8c" providerId="AD" clId="Web-{B0F8F665-5B23-692B-4411-DCED4D6CE914}" dt="2023-07-25T14:26:46.122" v="8"/>
        <pc:sldMkLst>
          <pc:docMk/>
          <pc:sldMk cId="678674023" sldId="656"/>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26:46.122" v="8"/>
              <pc2:cmMkLst xmlns:pc2="http://schemas.microsoft.com/office/powerpoint/2019/9/main/command">
                <pc:docMk/>
                <pc:sldMk cId="678674023" sldId="656"/>
                <pc2:cmMk id="{0BD24DC8-43C7-4249-B7A0-23203CE81851}"/>
              </pc2:cmMkLst>
            </pc226:cmChg>
          </p:ext>
        </pc:extLst>
      </pc:sldChg>
      <pc:sldChg chg="modCm">
        <pc:chgData name="Heidi Jean Harms" userId="S::heidiharms@churchofjesuschrist.org::b7342844-2534-4d4b-8710-0632f461dd8c" providerId="AD" clId="Web-{B0F8F665-5B23-692B-4411-DCED4D6CE914}" dt="2023-07-25T14:36:36.264" v="9"/>
        <pc:sldMkLst>
          <pc:docMk/>
          <pc:sldMk cId="3072156505" sldId="768"/>
        </pc:sldMkLst>
        <pc:extLst>
          <p:ext xmlns:p="http://schemas.openxmlformats.org/presentationml/2006/main" uri="{D6D511B9-2390-475A-947B-AFAB55BFBCF1}">
            <pc226:cmChg xmlns:pc226="http://schemas.microsoft.com/office/powerpoint/2022/06/main/command" chg="">
              <pc226:chgData name="Heidi Jean Harms" userId="S::heidiharms@churchofjesuschrist.org::b7342844-2534-4d4b-8710-0632f461dd8c" providerId="AD" clId="Web-{B0F8F665-5B23-692B-4411-DCED4D6CE914}" dt="2023-07-25T14:36:36.264" v="9"/>
              <pc2:cmMkLst xmlns:pc2="http://schemas.microsoft.com/office/powerpoint/2019/9/main/command">
                <pc:docMk/>
                <pc:sldMk cId="3072156505" sldId="768"/>
                <pc2:cmMk id="{BF7020DD-15D0-CD48-96B1-845139ACCB09}"/>
              </pc2:cmMkLst>
              <pc226:cmRplyChg chg="add">
                <pc226:chgData name="Heidi Jean Harms" userId="S::heidiharms@churchofjesuschrist.org::b7342844-2534-4d4b-8710-0632f461dd8c" providerId="AD" clId="Web-{B0F8F665-5B23-692B-4411-DCED4D6CE914}" dt="2023-07-25T14:36:36.264" v="9"/>
                <pc2:cmRplyMkLst xmlns:pc2="http://schemas.microsoft.com/office/powerpoint/2019/9/main/command">
                  <pc:docMk/>
                  <pc:sldMk cId="3072156505" sldId="768"/>
                  <pc2:cmMk id="{BF7020DD-15D0-CD48-96B1-845139ACCB09}"/>
                  <pc2:cmRplyMk id="{5B5A638D-84B5-4942-8EA1-4008A848E181}"/>
                </pc2:cmRplyMkLst>
              </pc226:cmRplyChg>
            </pc226:cmChg>
          </p:ext>
        </pc:extLst>
      </pc:sldChg>
      <pc:sldChg chg="modSp">
        <pc:chgData name="Heidi Jean Harms" userId="S::heidiharms@churchofjesuschrist.org::b7342844-2534-4d4b-8710-0632f461dd8c" providerId="AD" clId="Web-{B0F8F665-5B23-692B-4411-DCED4D6CE914}" dt="2023-07-25T14:26:22.168" v="7" actId="1076"/>
        <pc:sldMkLst>
          <pc:docMk/>
          <pc:sldMk cId="2999881190" sldId="788"/>
        </pc:sldMkLst>
        <pc:spChg chg="mod">
          <ac:chgData name="Heidi Jean Harms" userId="S::heidiharms@churchofjesuschrist.org::b7342844-2534-4d4b-8710-0632f461dd8c" providerId="AD" clId="Web-{B0F8F665-5B23-692B-4411-DCED4D6CE914}" dt="2023-07-25T14:26:22.168" v="7" actId="1076"/>
          <ac:spMkLst>
            <pc:docMk/>
            <pc:sldMk cId="2999881190" sldId="788"/>
            <ac:spMk id="2" creationId="{29993704-1A86-D204-ACD4-3DE44E38FA59}"/>
          </ac:spMkLst>
        </pc:spChg>
      </pc:sldChg>
      <pc:sldChg chg="addCm">
        <pc:chgData name="Heidi Jean Harms" userId="S::heidiharms@churchofjesuschrist.org::b7342844-2534-4d4b-8710-0632f461dd8c" providerId="AD" clId="Web-{B0F8F665-5B23-692B-4411-DCED4D6CE914}" dt="2023-07-25T14:16:22.869" v="1"/>
        <pc:sldMkLst>
          <pc:docMk/>
          <pc:sldMk cId="4270646571" sldId="797"/>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16:22.869" v="1"/>
              <pc2:cmMkLst xmlns:pc2="http://schemas.microsoft.com/office/powerpoint/2019/9/main/command">
                <pc:docMk/>
                <pc:sldMk cId="4270646571" sldId="797"/>
                <pc2:cmMk id="{B3D541F8-C3D1-4966-B641-BF8F3318D326}"/>
              </pc2:cmMkLst>
            </pc226:cmChg>
          </p:ext>
        </pc:extLst>
      </pc:sldChg>
      <pc:sldChg chg="addCm">
        <pc:chgData name="Heidi Jean Harms" userId="S::heidiharms@churchofjesuschrist.org::b7342844-2534-4d4b-8710-0632f461dd8c" providerId="AD" clId="Web-{B0F8F665-5B23-692B-4411-DCED4D6CE914}" dt="2023-07-25T14:19:36.234" v="3"/>
        <pc:sldMkLst>
          <pc:docMk/>
          <pc:sldMk cId="3075817669" sldId="805"/>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18:18.107" v="2"/>
              <pc2:cmMkLst xmlns:pc2="http://schemas.microsoft.com/office/powerpoint/2019/9/main/command">
                <pc:docMk/>
                <pc:sldMk cId="3075817669" sldId="805"/>
                <pc2:cmMk id="{0E933016-E5C5-4AF9-A259-26036E1BC28E}"/>
              </pc2:cmMkLst>
            </pc226:cmChg>
            <pc226:cmChg xmlns:pc226="http://schemas.microsoft.com/office/powerpoint/2022/06/main/command" chg="add">
              <pc226:chgData name="Heidi Jean Harms" userId="S::heidiharms@churchofjesuschrist.org::b7342844-2534-4d4b-8710-0632f461dd8c" providerId="AD" clId="Web-{B0F8F665-5B23-692B-4411-DCED4D6CE914}" dt="2023-07-25T14:19:36.234" v="3"/>
              <pc2:cmMkLst xmlns:pc2="http://schemas.microsoft.com/office/powerpoint/2019/9/main/command">
                <pc:docMk/>
                <pc:sldMk cId="3075817669" sldId="805"/>
                <pc2:cmMk id="{6B7EB123-2AB3-43B1-88A1-79CA1CDC9DBE}"/>
              </pc2:cmMkLst>
            </pc226:cmChg>
          </p:ext>
        </pc:extLst>
      </pc:sldChg>
      <pc:sldChg chg="addCm">
        <pc:chgData name="Heidi Jean Harms" userId="S::heidiharms@churchofjesuschrist.org::b7342844-2534-4d4b-8710-0632f461dd8c" providerId="AD" clId="Web-{B0F8F665-5B23-692B-4411-DCED4D6CE914}" dt="2023-07-25T14:25:58.730" v="6"/>
        <pc:sldMkLst>
          <pc:docMk/>
          <pc:sldMk cId="3056659758" sldId="817"/>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25:58.730" v="6"/>
              <pc2:cmMkLst xmlns:pc2="http://schemas.microsoft.com/office/powerpoint/2019/9/main/command">
                <pc:docMk/>
                <pc:sldMk cId="3056659758" sldId="817"/>
                <pc2:cmMk id="{A3BBAA12-B331-43E6-A71B-3A73DC0EA105}"/>
              </pc2:cmMkLst>
            </pc226:cmChg>
          </p:ext>
        </pc:extLst>
      </pc:sldChg>
      <pc:sldChg chg="addCm">
        <pc:chgData name="Heidi Jean Harms" userId="S::heidiharms@churchofjesuschrist.org::b7342844-2534-4d4b-8710-0632f461dd8c" providerId="AD" clId="Web-{B0F8F665-5B23-692B-4411-DCED4D6CE914}" dt="2023-07-25T14:22:02.207" v="4"/>
        <pc:sldMkLst>
          <pc:docMk/>
          <pc:sldMk cId="3569784783" sldId="819"/>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22:02.207" v="4"/>
              <pc2:cmMkLst xmlns:pc2="http://schemas.microsoft.com/office/powerpoint/2019/9/main/command">
                <pc:docMk/>
                <pc:sldMk cId="3569784783" sldId="819"/>
                <pc2:cmMk id="{0EF54A38-1DC7-42D5-BA6F-0C9C0AA3F38F}"/>
              </pc2:cmMkLst>
            </pc226:cmChg>
          </p:ext>
        </pc:extLst>
      </pc:sldChg>
      <pc:sldChg chg="addCm">
        <pc:chgData name="Heidi Jean Harms" userId="S::heidiharms@churchofjesuschrist.org::b7342844-2534-4d4b-8710-0632f461dd8c" providerId="AD" clId="Web-{B0F8F665-5B23-692B-4411-DCED4D6CE914}" dt="2023-07-25T14:24:18.431" v="5"/>
        <pc:sldMkLst>
          <pc:docMk/>
          <pc:sldMk cId="1753766256" sldId="821"/>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B0F8F665-5B23-692B-4411-DCED4D6CE914}" dt="2023-07-25T14:24:18.431" v="5"/>
              <pc2:cmMkLst xmlns:pc2="http://schemas.microsoft.com/office/powerpoint/2019/9/main/command">
                <pc:docMk/>
                <pc:sldMk cId="1753766256" sldId="821"/>
                <pc2:cmMk id="{1C87C96C-03E0-4B5A-A4E5-3A9DC0D8EC7B}"/>
              </pc2:cmMkLst>
            </pc226:cmChg>
          </p:ext>
        </pc:extLst>
      </pc:sldChg>
    </pc:docChg>
  </pc:docChgLst>
  <pc:docChgLst>
    <pc:chgData name="Kamile Walker" userId="S::kamiwalker@churchofjesuschrist.org::a6eb77e7-33bd-4c57-a3cf-538d131ebd75" providerId="AD" clId="Web-{A91C1C58-B1B7-50B2-5F9D-318835D5FCF3}"/>
    <pc:docChg chg="modSld">
      <pc:chgData name="Kamile Walker" userId="S::kamiwalker@churchofjesuschrist.org::a6eb77e7-33bd-4c57-a3cf-538d131ebd75" providerId="AD" clId="Web-{A91C1C58-B1B7-50B2-5F9D-318835D5FCF3}" dt="2023-07-21T18:53:06.048" v="173" actId="1076"/>
      <pc:docMkLst>
        <pc:docMk/>
      </pc:docMkLst>
      <pc:sldChg chg="modSp">
        <pc:chgData name="Kamile Walker" userId="S::kamiwalker@churchofjesuschrist.org::a6eb77e7-33bd-4c57-a3cf-538d131ebd75" providerId="AD" clId="Web-{A91C1C58-B1B7-50B2-5F9D-318835D5FCF3}" dt="2023-07-21T18:19:31.125" v="98" actId="1076"/>
        <pc:sldMkLst>
          <pc:docMk/>
          <pc:sldMk cId="2524528356" sldId="274"/>
        </pc:sldMkLst>
        <pc:spChg chg="mod">
          <ac:chgData name="Kamile Walker" userId="S::kamiwalker@churchofjesuschrist.org::a6eb77e7-33bd-4c57-a3cf-538d131ebd75" providerId="AD" clId="Web-{A91C1C58-B1B7-50B2-5F9D-318835D5FCF3}" dt="2023-07-21T18:18:31.295" v="88" actId="14100"/>
          <ac:spMkLst>
            <pc:docMk/>
            <pc:sldMk cId="2524528356" sldId="274"/>
            <ac:spMk id="7" creationId="{2CD8C5D8-D759-764A-8FA6-7D35B2389EB1}"/>
          </ac:spMkLst>
        </pc:spChg>
        <pc:spChg chg="mod">
          <ac:chgData name="Kamile Walker" userId="S::kamiwalker@churchofjesuschrist.org::a6eb77e7-33bd-4c57-a3cf-538d131ebd75" providerId="AD" clId="Web-{A91C1C58-B1B7-50B2-5F9D-318835D5FCF3}" dt="2023-07-21T18:19:03.015" v="94" actId="1076"/>
          <ac:spMkLst>
            <pc:docMk/>
            <pc:sldMk cId="2524528356" sldId="274"/>
            <ac:spMk id="12" creationId="{C897D01E-E99D-A245-8A13-F45949F8C082}"/>
          </ac:spMkLst>
        </pc:spChg>
        <pc:spChg chg="mod">
          <ac:chgData name="Kamile Walker" userId="S::kamiwalker@churchofjesuschrist.org::a6eb77e7-33bd-4c57-a3cf-538d131ebd75" providerId="AD" clId="Web-{A91C1C58-B1B7-50B2-5F9D-318835D5FCF3}" dt="2023-07-21T18:19:19.515" v="96" actId="1076"/>
          <ac:spMkLst>
            <pc:docMk/>
            <pc:sldMk cId="2524528356" sldId="274"/>
            <ac:spMk id="13" creationId="{214F4EDA-9E65-7A44-8530-C208ED9530BB}"/>
          </ac:spMkLst>
        </pc:spChg>
        <pc:spChg chg="mod">
          <ac:chgData name="Kamile Walker" userId="S::kamiwalker@churchofjesuschrist.org::a6eb77e7-33bd-4c57-a3cf-538d131ebd75" providerId="AD" clId="Web-{A91C1C58-B1B7-50B2-5F9D-318835D5FCF3}" dt="2023-07-21T18:18:41.780" v="90" actId="14100"/>
          <ac:spMkLst>
            <pc:docMk/>
            <pc:sldMk cId="2524528356" sldId="274"/>
            <ac:spMk id="14" creationId="{3D19938C-6335-2249-A13D-06A60FE39D74}"/>
          </ac:spMkLst>
        </pc:spChg>
        <pc:picChg chg="mod">
          <ac:chgData name="Kamile Walker" userId="S::kamiwalker@churchofjesuschrist.org::a6eb77e7-33bd-4c57-a3cf-538d131ebd75" providerId="AD" clId="Web-{A91C1C58-B1B7-50B2-5F9D-318835D5FCF3}" dt="2023-07-21T18:19:25.750" v="97" actId="1076"/>
          <ac:picMkLst>
            <pc:docMk/>
            <pc:sldMk cId="2524528356" sldId="274"/>
            <ac:picMk id="9" creationId="{176735A7-3AE8-2247-B4CF-8DEF63CA10FC}"/>
          </ac:picMkLst>
        </pc:picChg>
        <pc:picChg chg="mod">
          <ac:chgData name="Kamile Walker" userId="S::kamiwalker@churchofjesuschrist.org::a6eb77e7-33bd-4c57-a3cf-538d131ebd75" providerId="AD" clId="Web-{A91C1C58-B1B7-50B2-5F9D-318835D5FCF3}" dt="2023-07-21T18:19:14.234" v="95" actId="1076"/>
          <ac:picMkLst>
            <pc:docMk/>
            <pc:sldMk cId="2524528356" sldId="274"/>
            <ac:picMk id="11" creationId="{755A6251-C87C-3141-9F9F-CDEDD75626D6}"/>
          </ac:picMkLst>
        </pc:picChg>
        <pc:picChg chg="mod">
          <ac:chgData name="Kamile Walker" userId="S::kamiwalker@churchofjesuschrist.org::a6eb77e7-33bd-4c57-a3cf-538d131ebd75" providerId="AD" clId="Web-{A91C1C58-B1B7-50B2-5F9D-318835D5FCF3}" dt="2023-07-21T18:19:31.125" v="98" actId="1076"/>
          <ac:picMkLst>
            <pc:docMk/>
            <pc:sldMk cId="2524528356" sldId="274"/>
            <ac:picMk id="18" creationId="{3E271B06-2EC5-7D49-BAEA-87F3523BD780}"/>
          </ac:picMkLst>
        </pc:picChg>
      </pc:sldChg>
      <pc:sldChg chg="modSp">
        <pc:chgData name="Kamile Walker" userId="S::kamiwalker@churchofjesuschrist.org::a6eb77e7-33bd-4c57-a3cf-538d131ebd75" providerId="AD" clId="Web-{A91C1C58-B1B7-50B2-5F9D-318835D5FCF3}" dt="2023-07-21T18:16:22.946" v="74" actId="14100"/>
        <pc:sldMkLst>
          <pc:docMk/>
          <pc:sldMk cId="811277208" sldId="292"/>
        </pc:sldMkLst>
        <pc:spChg chg="mod">
          <ac:chgData name="Kamile Walker" userId="S::kamiwalker@churchofjesuschrist.org::a6eb77e7-33bd-4c57-a3cf-538d131ebd75" providerId="AD" clId="Web-{A91C1C58-B1B7-50B2-5F9D-318835D5FCF3}" dt="2023-07-21T18:16:22.946" v="74" actId="14100"/>
          <ac:spMkLst>
            <pc:docMk/>
            <pc:sldMk cId="811277208" sldId="292"/>
            <ac:spMk id="3" creationId="{6D06104A-829B-66CC-9B73-FC55C759289C}"/>
          </ac:spMkLst>
        </pc:spChg>
      </pc:sldChg>
      <pc:sldChg chg="modSp">
        <pc:chgData name="Kamile Walker" userId="S::kamiwalker@churchofjesuschrist.org::a6eb77e7-33bd-4c57-a3cf-538d131ebd75" providerId="AD" clId="Web-{A91C1C58-B1B7-50B2-5F9D-318835D5FCF3}" dt="2023-07-21T18:17:16.636" v="80" actId="1076"/>
        <pc:sldMkLst>
          <pc:docMk/>
          <pc:sldMk cId="678674023" sldId="656"/>
        </pc:sldMkLst>
        <pc:spChg chg="mod">
          <ac:chgData name="Kamile Walker" userId="S::kamiwalker@churchofjesuschrist.org::a6eb77e7-33bd-4c57-a3cf-538d131ebd75" providerId="AD" clId="Web-{A91C1C58-B1B7-50B2-5F9D-318835D5FCF3}" dt="2023-07-21T18:17:11.885" v="79" actId="1076"/>
          <ac:spMkLst>
            <pc:docMk/>
            <pc:sldMk cId="678674023" sldId="656"/>
            <ac:spMk id="25" creationId="{CFED76EC-02F7-7B47-A712-14380461C44A}"/>
          </ac:spMkLst>
        </pc:spChg>
        <pc:spChg chg="mod">
          <ac:chgData name="Kamile Walker" userId="S::kamiwalker@churchofjesuschrist.org::a6eb77e7-33bd-4c57-a3cf-538d131ebd75" providerId="AD" clId="Web-{A91C1C58-B1B7-50B2-5F9D-318835D5FCF3}" dt="2023-07-21T18:17:16.636" v="80" actId="1076"/>
          <ac:spMkLst>
            <pc:docMk/>
            <pc:sldMk cId="678674023" sldId="656"/>
            <ac:spMk id="27" creationId="{97C45E0F-097C-D54E-9A22-B9CF15C732AE}"/>
          </ac:spMkLst>
        </pc:spChg>
      </pc:sldChg>
      <pc:sldChg chg="modSp">
        <pc:chgData name="Kamile Walker" userId="S::kamiwalker@churchofjesuschrist.org::a6eb77e7-33bd-4c57-a3cf-538d131ebd75" providerId="AD" clId="Web-{A91C1C58-B1B7-50B2-5F9D-318835D5FCF3}" dt="2023-07-21T18:19:57.704" v="101" actId="14100"/>
        <pc:sldMkLst>
          <pc:docMk/>
          <pc:sldMk cId="2661863841" sldId="659"/>
        </pc:sldMkLst>
        <pc:spChg chg="mod">
          <ac:chgData name="Kamile Walker" userId="S::kamiwalker@churchofjesuschrist.org::a6eb77e7-33bd-4c57-a3cf-538d131ebd75" providerId="AD" clId="Web-{A91C1C58-B1B7-50B2-5F9D-318835D5FCF3}" dt="2023-07-21T18:19:57.704" v="101" actId="14100"/>
          <ac:spMkLst>
            <pc:docMk/>
            <pc:sldMk cId="2661863841" sldId="659"/>
            <ac:spMk id="4" creationId="{B584CEB7-306D-9D4B-8A46-9E23D7A9C839}"/>
          </ac:spMkLst>
        </pc:spChg>
        <pc:spChg chg="mod">
          <ac:chgData name="Kamile Walker" userId="S::kamiwalker@churchofjesuschrist.org::a6eb77e7-33bd-4c57-a3cf-538d131ebd75" providerId="AD" clId="Web-{A91C1C58-B1B7-50B2-5F9D-318835D5FCF3}" dt="2023-07-21T18:19:49.657" v="100" actId="14100"/>
          <ac:spMkLst>
            <pc:docMk/>
            <pc:sldMk cId="2661863841" sldId="659"/>
            <ac:spMk id="7" creationId="{19BA7E76-E466-9240-A419-49D1B14B079B}"/>
          </ac:spMkLst>
        </pc:spChg>
      </pc:sldChg>
      <pc:sldChg chg="modSp">
        <pc:chgData name="Kamile Walker" userId="S::kamiwalker@churchofjesuschrist.org::a6eb77e7-33bd-4c57-a3cf-538d131ebd75" providerId="AD" clId="Web-{A91C1C58-B1B7-50B2-5F9D-318835D5FCF3}" dt="2023-07-21T18:20:39.472" v="105" actId="14100"/>
        <pc:sldMkLst>
          <pc:docMk/>
          <pc:sldMk cId="2180367955" sldId="660"/>
        </pc:sldMkLst>
        <pc:spChg chg="mod">
          <ac:chgData name="Kamile Walker" userId="S::kamiwalker@churchofjesuschrist.org::a6eb77e7-33bd-4c57-a3cf-538d131ebd75" providerId="AD" clId="Web-{A91C1C58-B1B7-50B2-5F9D-318835D5FCF3}" dt="2023-07-21T18:20:39.472" v="105" actId="14100"/>
          <ac:spMkLst>
            <pc:docMk/>
            <pc:sldMk cId="2180367955" sldId="660"/>
            <ac:spMk id="4" creationId="{B584CEB7-306D-9D4B-8A46-9E23D7A9C839}"/>
          </ac:spMkLst>
        </pc:spChg>
        <pc:spChg chg="mod">
          <ac:chgData name="Kamile Walker" userId="S::kamiwalker@churchofjesuschrist.org::a6eb77e7-33bd-4c57-a3cf-538d131ebd75" providerId="AD" clId="Web-{A91C1C58-B1B7-50B2-5F9D-318835D5FCF3}" dt="2023-07-21T18:20:18.596" v="103" actId="1076"/>
          <ac:spMkLst>
            <pc:docMk/>
            <pc:sldMk cId="2180367955" sldId="660"/>
            <ac:spMk id="8" creationId="{024E6555-4F67-0341-8758-449993CE3712}"/>
          </ac:spMkLst>
        </pc:spChg>
      </pc:sldChg>
      <pc:sldChg chg="modSp">
        <pc:chgData name="Kamile Walker" userId="S::kamiwalker@churchofjesuschrist.org::a6eb77e7-33bd-4c57-a3cf-538d131ebd75" providerId="AD" clId="Web-{A91C1C58-B1B7-50B2-5F9D-318835D5FCF3}" dt="2023-07-21T18:18:17.075" v="87" actId="1076"/>
        <pc:sldMkLst>
          <pc:docMk/>
          <pc:sldMk cId="1325330900" sldId="708"/>
        </pc:sldMkLst>
        <pc:spChg chg="mod">
          <ac:chgData name="Kamile Walker" userId="S::kamiwalker@churchofjesuschrist.org::a6eb77e7-33bd-4c57-a3cf-538d131ebd75" providerId="AD" clId="Web-{A91C1C58-B1B7-50B2-5F9D-318835D5FCF3}" dt="2023-07-21T18:18:17.075" v="87" actId="1076"/>
          <ac:spMkLst>
            <pc:docMk/>
            <pc:sldMk cId="1325330900" sldId="708"/>
            <ac:spMk id="4" creationId="{A94374B5-F2B9-7340-A780-6E9CB520CA88}"/>
          </ac:spMkLst>
        </pc:spChg>
      </pc:sldChg>
      <pc:sldChg chg="modSp">
        <pc:chgData name="Kamile Walker" userId="S::kamiwalker@churchofjesuschrist.org::a6eb77e7-33bd-4c57-a3cf-538d131ebd75" providerId="AD" clId="Web-{A91C1C58-B1B7-50B2-5F9D-318835D5FCF3}" dt="2023-07-21T18:19:39.938" v="99" actId="1076"/>
        <pc:sldMkLst>
          <pc:docMk/>
          <pc:sldMk cId="1564383633" sldId="709"/>
        </pc:sldMkLst>
        <pc:spChg chg="mod">
          <ac:chgData name="Kamile Walker" userId="S::kamiwalker@churchofjesuschrist.org::a6eb77e7-33bd-4c57-a3cf-538d131ebd75" providerId="AD" clId="Web-{A91C1C58-B1B7-50B2-5F9D-318835D5FCF3}" dt="2023-07-21T18:19:39.938" v="99" actId="1076"/>
          <ac:spMkLst>
            <pc:docMk/>
            <pc:sldMk cId="1564383633" sldId="709"/>
            <ac:spMk id="7" creationId="{298BE645-7BD3-584B-967F-C6BFDCFFF150}"/>
          </ac:spMkLst>
        </pc:spChg>
      </pc:sldChg>
      <pc:sldChg chg="addSp delSp modSp">
        <pc:chgData name="Kamile Walker" userId="S::kamiwalker@churchofjesuschrist.org::a6eb77e7-33bd-4c57-a3cf-538d131ebd75" providerId="AD" clId="Web-{A91C1C58-B1B7-50B2-5F9D-318835D5FCF3}" dt="2023-07-21T18:42:40.414" v="169" actId="1076"/>
        <pc:sldMkLst>
          <pc:docMk/>
          <pc:sldMk cId="3051388098" sldId="766"/>
        </pc:sldMkLst>
        <pc:picChg chg="add del mod">
          <ac:chgData name="Kamile Walker" userId="S::kamiwalker@churchofjesuschrist.org::a6eb77e7-33bd-4c57-a3cf-538d131ebd75" providerId="AD" clId="Web-{A91C1C58-B1B7-50B2-5F9D-318835D5FCF3}" dt="2023-07-21T18:42:40.414" v="169" actId="1076"/>
          <ac:picMkLst>
            <pc:docMk/>
            <pc:sldMk cId="3051388098" sldId="766"/>
            <ac:picMk id="1026" creationId="{DE5DFED8-D98A-5E4C-A3FB-FF0EBB33E8D0}"/>
          </ac:picMkLst>
        </pc:picChg>
      </pc:sldChg>
      <pc:sldChg chg="modSp">
        <pc:chgData name="Kamile Walker" userId="S::kamiwalker@churchofjesuschrist.org::a6eb77e7-33bd-4c57-a3cf-538d131ebd75" providerId="AD" clId="Web-{A91C1C58-B1B7-50B2-5F9D-318835D5FCF3}" dt="2023-07-21T18:23:13.040" v="130" actId="1076"/>
        <pc:sldMkLst>
          <pc:docMk/>
          <pc:sldMk cId="3072156505" sldId="768"/>
        </pc:sldMkLst>
        <pc:spChg chg="mod">
          <ac:chgData name="Kamile Walker" userId="S::kamiwalker@churchofjesuschrist.org::a6eb77e7-33bd-4c57-a3cf-538d131ebd75" providerId="AD" clId="Web-{A91C1C58-B1B7-50B2-5F9D-318835D5FCF3}" dt="2023-07-21T18:21:48.193" v="115" actId="1076"/>
          <ac:spMkLst>
            <pc:docMk/>
            <pc:sldMk cId="3072156505" sldId="768"/>
            <ac:spMk id="3" creationId="{D29BDC45-E8FF-3C47-9619-A51C86E2259F}"/>
          </ac:spMkLst>
        </pc:spChg>
        <pc:spChg chg="mod">
          <ac:chgData name="Kamile Walker" userId="S::kamiwalker@churchofjesuschrist.org::a6eb77e7-33bd-4c57-a3cf-538d131ebd75" providerId="AD" clId="Web-{A91C1C58-B1B7-50B2-5F9D-318835D5FCF3}" dt="2023-07-21T18:22:20.647" v="121" actId="1076"/>
          <ac:spMkLst>
            <pc:docMk/>
            <pc:sldMk cId="3072156505" sldId="768"/>
            <ac:spMk id="6" creationId="{EC4FCF43-E4C8-D64C-86C6-C8705D0B98CC}"/>
          </ac:spMkLst>
        </pc:spChg>
        <pc:spChg chg="mod">
          <ac:chgData name="Kamile Walker" userId="S::kamiwalker@churchofjesuschrist.org::a6eb77e7-33bd-4c57-a3cf-538d131ebd75" providerId="AD" clId="Web-{A91C1C58-B1B7-50B2-5F9D-318835D5FCF3}" dt="2023-07-21T18:22:58.102" v="127" actId="1076"/>
          <ac:spMkLst>
            <pc:docMk/>
            <pc:sldMk cId="3072156505" sldId="768"/>
            <ac:spMk id="17" creationId="{30BBF45B-756D-2663-3D20-DC7F4904A854}"/>
          </ac:spMkLst>
        </pc:spChg>
        <pc:spChg chg="mod">
          <ac:chgData name="Kamile Walker" userId="S::kamiwalker@churchofjesuschrist.org::a6eb77e7-33bd-4c57-a3cf-538d131ebd75" providerId="AD" clId="Web-{A91C1C58-B1B7-50B2-5F9D-318835D5FCF3}" dt="2023-07-21T18:22:58.086" v="126" actId="1076"/>
          <ac:spMkLst>
            <pc:docMk/>
            <pc:sldMk cId="3072156505" sldId="768"/>
            <ac:spMk id="31" creationId="{CE6A8DC2-A2DE-657D-9DFC-C4720DE07321}"/>
          </ac:spMkLst>
        </pc:spChg>
        <pc:spChg chg="mod">
          <ac:chgData name="Kamile Walker" userId="S::kamiwalker@churchofjesuschrist.org::a6eb77e7-33bd-4c57-a3cf-538d131ebd75" providerId="AD" clId="Web-{A91C1C58-B1B7-50B2-5F9D-318835D5FCF3}" dt="2023-07-21T18:22:58.071" v="125" actId="1076"/>
          <ac:spMkLst>
            <pc:docMk/>
            <pc:sldMk cId="3072156505" sldId="768"/>
            <ac:spMk id="32" creationId="{B2BF4912-441D-3A95-0717-2E3D95E4072A}"/>
          </ac:spMkLst>
        </pc:spChg>
        <pc:picChg chg="mod">
          <ac:chgData name="Kamile Walker" userId="S::kamiwalker@churchofjesuschrist.org::a6eb77e7-33bd-4c57-a3cf-538d131ebd75" providerId="AD" clId="Web-{A91C1C58-B1B7-50B2-5F9D-318835D5FCF3}" dt="2023-07-21T18:23:08.446" v="129" actId="1076"/>
          <ac:picMkLst>
            <pc:docMk/>
            <pc:sldMk cId="3072156505" sldId="768"/>
            <ac:picMk id="13" creationId="{B91B2496-EC52-45F4-08D6-0ADC0A2ABE52}"/>
          </ac:picMkLst>
        </pc:picChg>
        <pc:picChg chg="mod">
          <ac:chgData name="Kamile Walker" userId="S::kamiwalker@churchofjesuschrist.org::a6eb77e7-33bd-4c57-a3cf-538d131ebd75" providerId="AD" clId="Web-{A91C1C58-B1B7-50B2-5F9D-318835D5FCF3}" dt="2023-07-21T18:23:04.055" v="128" actId="1076"/>
          <ac:picMkLst>
            <pc:docMk/>
            <pc:sldMk cId="3072156505" sldId="768"/>
            <ac:picMk id="27" creationId="{4BAF6CAB-4705-4731-9003-F1DFBA8F2242}"/>
          </ac:picMkLst>
        </pc:picChg>
        <pc:picChg chg="mod">
          <ac:chgData name="Kamile Walker" userId="S::kamiwalker@churchofjesuschrist.org::a6eb77e7-33bd-4c57-a3cf-538d131ebd75" providerId="AD" clId="Web-{A91C1C58-B1B7-50B2-5F9D-318835D5FCF3}" dt="2023-07-21T18:23:13.040" v="130" actId="1076"/>
          <ac:picMkLst>
            <pc:docMk/>
            <pc:sldMk cId="3072156505" sldId="768"/>
            <ac:picMk id="29" creationId="{2B9A1C7A-A0F1-EB7C-34C1-1E59B2DCD9B4}"/>
          </ac:picMkLst>
        </pc:picChg>
      </pc:sldChg>
      <pc:sldChg chg="modSp">
        <pc:chgData name="Kamile Walker" userId="S::kamiwalker@churchofjesuschrist.org::a6eb77e7-33bd-4c57-a3cf-538d131ebd75" providerId="AD" clId="Web-{A91C1C58-B1B7-50B2-5F9D-318835D5FCF3}" dt="2023-07-21T18:26:18.579" v="139" actId="1076"/>
        <pc:sldMkLst>
          <pc:docMk/>
          <pc:sldMk cId="29013491" sldId="769"/>
        </pc:sldMkLst>
        <pc:spChg chg="mod">
          <ac:chgData name="Kamile Walker" userId="S::kamiwalker@churchofjesuschrist.org::a6eb77e7-33bd-4c57-a3cf-538d131ebd75" providerId="AD" clId="Web-{A91C1C58-B1B7-50B2-5F9D-318835D5FCF3}" dt="2023-07-21T18:26:18.563" v="137" actId="1076"/>
          <ac:spMkLst>
            <pc:docMk/>
            <pc:sldMk cId="29013491" sldId="769"/>
            <ac:spMk id="3" creationId="{D8403070-DEEB-8143-B9ED-F146907EEFC3}"/>
          </ac:spMkLst>
        </pc:spChg>
        <pc:spChg chg="mod">
          <ac:chgData name="Kamile Walker" userId="S::kamiwalker@churchofjesuschrist.org::a6eb77e7-33bd-4c57-a3cf-538d131ebd75" providerId="AD" clId="Web-{A91C1C58-B1B7-50B2-5F9D-318835D5FCF3}" dt="2023-07-21T18:26:18.579" v="139" actId="1076"/>
          <ac:spMkLst>
            <pc:docMk/>
            <pc:sldMk cId="29013491" sldId="769"/>
            <ac:spMk id="5" creationId="{CD13F077-4AC6-394F-B59D-28A4A9055A36}"/>
          </ac:spMkLst>
        </pc:spChg>
        <pc:spChg chg="mod">
          <ac:chgData name="Kamile Walker" userId="S::kamiwalker@churchofjesuschrist.org::a6eb77e7-33bd-4c57-a3cf-538d131ebd75" providerId="AD" clId="Web-{A91C1C58-B1B7-50B2-5F9D-318835D5FCF3}" dt="2023-07-21T18:26:18.563" v="138" actId="1076"/>
          <ac:spMkLst>
            <pc:docMk/>
            <pc:sldMk cId="29013491" sldId="769"/>
            <ac:spMk id="10" creationId="{1C0FA216-8D3D-3047-8BAE-DA379674949C}"/>
          </ac:spMkLst>
        </pc:spChg>
        <pc:picChg chg="mod">
          <ac:chgData name="Kamile Walker" userId="S::kamiwalker@churchofjesuschrist.org::a6eb77e7-33bd-4c57-a3cf-538d131ebd75" providerId="AD" clId="Web-{A91C1C58-B1B7-50B2-5F9D-318835D5FCF3}" dt="2023-07-21T18:25:27.983" v="131"/>
          <ac:picMkLst>
            <pc:docMk/>
            <pc:sldMk cId="29013491" sldId="769"/>
            <ac:picMk id="9" creationId="{D09F6A7E-8767-AB5F-5259-DC7B083CF1FB}"/>
          </ac:picMkLst>
        </pc:picChg>
      </pc:sldChg>
      <pc:sldChg chg="modSp">
        <pc:chgData name="Kamile Walker" userId="S::kamiwalker@churchofjesuschrist.org::a6eb77e7-33bd-4c57-a3cf-538d131ebd75" providerId="AD" clId="Web-{A91C1C58-B1B7-50B2-5F9D-318835D5FCF3}" dt="2023-07-21T18:27:12.471" v="140"/>
        <pc:sldMkLst>
          <pc:docMk/>
          <pc:sldMk cId="812648092" sldId="770"/>
        </pc:sldMkLst>
        <pc:picChg chg="mod">
          <ac:chgData name="Kamile Walker" userId="S::kamiwalker@churchofjesuschrist.org::a6eb77e7-33bd-4c57-a3cf-538d131ebd75" providerId="AD" clId="Web-{A91C1C58-B1B7-50B2-5F9D-318835D5FCF3}" dt="2023-07-21T18:27:12.471" v="140"/>
          <ac:picMkLst>
            <pc:docMk/>
            <pc:sldMk cId="812648092" sldId="770"/>
            <ac:picMk id="5" creationId="{ECB04300-8F09-C9C4-403A-5B9435B1D669}"/>
          </ac:picMkLst>
        </pc:picChg>
      </pc:sldChg>
      <pc:sldChg chg="modSp">
        <pc:chgData name="Kamile Walker" userId="S::kamiwalker@churchofjesuschrist.org::a6eb77e7-33bd-4c57-a3cf-538d131ebd75" providerId="AD" clId="Web-{A91C1C58-B1B7-50B2-5F9D-318835D5FCF3}" dt="2023-07-21T18:42:55.899" v="171" actId="1076"/>
        <pc:sldMkLst>
          <pc:docMk/>
          <pc:sldMk cId="1444667122" sldId="782"/>
        </pc:sldMkLst>
        <pc:spChg chg="mod">
          <ac:chgData name="Kamile Walker" userId="S::kamiwalker@churchofjesuschrist.org::a6eb77e7-33bd-4c57-a3cf-538d131ebd75" providerId="AD" clId="Web-{A91C1C58-B1B7-50B2-5F9D-318835D5FCF3}" dt="2023-07-21T18:42:55.899" v="171" actId="1076"/>
          <ac:spMkLst>
            <pc:docMk/>
            <pc:sldMk cId="1444667122" sldId="782"/>
            <ac:spMk id="27" creationId="{061D94E2-836E-EE4F-AC2E-903DE5C55B97}"/>
          </ac:spMkLst>
        </pc:spChg>
        <pc:spChg chg="mod">
          <ac:chgData name="Kamile Walker" userId="S::kamiwalker@churchofjesuschrist.org::a6eb77e7-33bd-4c57-a3cf-538d131ebd75" providerId="AD" clId="Web-{A91C1C58-B1B7-50B2-5F9D-318835D5FCF3}" dt="2023-07-21T18:07:55.145" v="5" actId="1076"/>
          <ac:spMkLst>
            <pc:docMk/>
            <pc:sldMk cId="1444667122" sldId="782"/>
            <ac:spMk id="29" creationId="{CED74288-F993-2A4C-A717-1C6A7F535098}"/>
          </ac:spMkLst>
        </pc:spChg>
      </pc:sldChg>
      <pc:sldChg chg="modSp">
        <pc:chgData name="Kamile Walker" userId="S::kamiwalker@churchofjesuschrist.org::a6eb77e7-33bd-4c57-a3cf-538d131ebd75" providerId="AD" clId="Web-{A91C1C58-B1B7-50B2-5F9D-318835D5FCF3}" dt="2023-07-21T18:15:19.100" v="67" actId="20577"/>
        <pc:sldMkLst>
          <pc:docMk/>
          <pc:sldMk cId="2999881190" sldId="788"/>
        </pc:sldMkLst>
        <pc:spChg chg="mod">
          <ac:chgData name="Kamile Walker" userId="S::kamiwalker@churchofjesuschrist.org::a6eb77e7-33bd-4c57-a3cf-538d131ebd75" providerId="AD" clId="Web-{A91C1C58-B1B7-50B2-5F9D-318835D5FCF3}" dt="2023-07-21T18:15:10.631" v="64" actId="14100"/>
          <ac:spMkLst>
            <pc:docMk/>
            <pc:sldMk cId="2999881190" sldId="788"/>
            <ac:spMk id="2" creationId="{29993704-1A86-D204-ACD4-3DE44E38FA59}"/>
          </ac:spMkLst>
        </pc:spChg>
        <pc:spChg chg="mod">
          <ac:chgData name="Kamile Walker" userId="S::kamiwalker@churchofjesuschrist.org::a6eb77e7-33bd-4c57-a3cf-538d131ebd75" providerId="AD" clId="Web-{A91C1C58-B1B7-50B2-5F9D-318835D5FCF3}" dt="2023-07-21T18:15:19.100" v="67" actId="20577"/>
          <ac:spMkLst>
            <pc:docMk/>
            <pc:sldMk cId="2999881190" sldId="788"/>
            <ac:spMk id="8" creationId="{C29326BC-4197-FE42-B254-B8E44181828A}"/>
          </ac:spMkLst>
        </pc:spChg>
      </pc:sldChg>
      <pc:sldChg chg="modSp">
        <pc:chgData name="Kamile Walker" userId="S::kamiwalker@churchofjesuschrist.org::a6eb77e7-33bd-4c57-a3cf-538d131ebd75" providerId="AD" clId="Web-{A91C1C58-B1B7-50B2-5F9D-318835D5FCF3}" dt="2023-07-21T18:08:15.958" v="8" actId="1076"/>
        <pc:sldMkLst>
          <pc:docMk/>
          <pc:sldMk cId="665768293" sldId="790"/>
        </pc:sldMkLst>
        <pc:spChg chg="mod">
          <ac:chgData name="Kamile Walker" userId="S::kamiwalker@churchofjesuschrist.org::a6eb77e7-33bd-4c57-a3cf-538d131ebd75" providerId="AD" clId="Web-{A91C1C58-B1B7-50B2-5F9D-318835D5FCF3}" dt="2023-07-21T18:08:06.177" v="6" actId="14100"/>
          <ac:spMkLst>
            <pc:docMk/>
            <pc:sldMk cId="665768293" sldId="790"/>
            <ac:spMk id="2" creationId="{7A1C276B-2A33-C049-AEF8-5AF88AD11664}"/>
          </ac:spMkLst>
        </pc:spChg>
        <pc:spChg chg="mod">
          <ac:chgData name="Kamile Walker" userId="S::kamiwalker@churchofjesuschrist.org::a6eb77e7-33bd-4c57-a3cf-538d131ebd75" providerId="AD" clId="Web-{A91C1C58-B1B7-50B2-5F9D-318835D5FCF3}" dt="2023-07-21T18:08:15.958" v="8" actId="1076"/>
          <ac:spMkLst>
            <pc:docMk/>
            <pc:sldMk cId="665768293" sldId="790"/>
            <ac:spMk id="3" creationId="{2198D0CB-A244-3645-93EF-5E47B40A5F95}"/>
          </ac:spMkLst>
        </pc:spChg>
      </pc:sldChg>
      <pc:sldChg chg="addSp delSp modSp">
        <pc:chgData name="Kamile Walker" userId="S::kamiwalker@churchofjesuschrist.org::a6eb77e7-33bd-4c57-a3cf-538d131ebd75" providerId="AD" clId="Web-{A91C1C58-B1B7-50B2-5F9D-318835D5FCF3}" dt="2023-07-21T18:08:39.303" v="10" actId="1076"/>
        <pc:sldMkLst>
          <pc:docMk/>
          <pc:sldMk cId="1019897426" sldId="793"/>
        </pc:sldMkLst>
        <pc:spChg chg="mod">
          <ac:chgData name="Kamile Walker" userId="S::kamiwalker@churchofjesuschrist.org::a6eb77e7-33bd-4c57-a3cf-538d131ebd75" providerId="AD" clId="Web-{A91C1C58-B1B7-50B2-5F9D-318835D5FCF3}" dt="2023-07-21T18:08:29.662" v="9" actId="14100"/>
          <ac:spMkLst>
            <pc:docMk/>
            <pc:sldMk cId="1019897426" sldId="793"/>
            <ac:spMk id="5" creationId="{0335E6F8-EF19-6242-8508-519A043B3930}"/>
          </ac:spMkLst>
        </pc:spChg>
        <pc:picChg chg="add del mod">
          <ac:chgData name="Kamile Walker" userId="S::kamiwalker@churchofjesuschrist.org::a6eb77e7-33bd-4c57-a3cf-538d131ebd75" providerId="AD" clId="Web-{A91C1C58-B1B7-50B2-5F9D-318835D5FCF3}" dt="2023-07-21T18:06:52.533" v="3"/>
          <ac:picMkLst>
            <pc:docMk/>
            <pc:sldMk cId="1019897426" sldId="793"/>
            <ac:picMk id="18" creationId="{80F9482C-C2B7-6F9D-33C2-1D44B1310C81}"/>
          </ac:picMkLst>
        </pc:picChg>
        <pc:cxnChg chg="mod">
          <ac:chgData name="Kamile Walker" userId="S::kamiwalker@churchofjesuschrist.org::a6eb77e7-33bd-4c57-a3cf-538d131ebd75" providerId="AD" clId="Web-{A91C1C58-B1B7-50B2-5F9D-318835D5FCF3}" dt="2023-07-21T18:08:39.303" v="10" actId="1076"/>
          <ac:cxnSpMkLst>
            <pc:docMk/>
            <pc:sldMk cId="1019897426" sldId="793"/>
            <ac:cxnSpMk id="7" creationId="{2FDFA615-E1C4-504F-AEFA-040F29D02920}"/>
          </ac:cxnSpMkLst>
        </pc:cxnChg>
      </pc:sldChg>
      <pc:sldChg chg="modSp">
        <pc:chgData name="Kamile Walker" userId="S::kamiwalker@churchofjesuschrist.org::a6eb77e7-33bd-4c57-a3cf-538d131ebd75" providerId="AD" clId="Web-{A91C1C58-B1B7-50B2-5F9D-318835D5FCF3}" dt="2023-07-21T18:09:17.992" v="17" actId="14100"/>
        <pc:sldMkLst>
          <pc:docMk/>
          <pc:sldMk cId="4270646571" sldId="797"/>
        </pc:sldMkLst>
        <pc:spChg chg="mod">
          <ac:chgData name="Kamile Walker" userId="S::kamiwalker@churchofjesuschrist.org::a6eb77e7-33bd-4c57-a3cf-538d131ebd75" providerId="AD" clId="Web-{A91C1C58-B1B7-50B2-5F9D-318835D5FCF3}" dt="2023-07-21T18:09:17.992" v="17" actId="14100"/>
          <ac:spMkLst>
            <pc:docMk/>
            <pc:sldMk cId="4270646571" sldId="797"/>
            <ac:spMk id="5" creationId="{7615F437-AACA-9175-406B-64C66D810847}"/>
          </ac:spMkLst>
        </pc:spChg>
        <pc:spChg chg="mod">
          <ac:chgData name="Kamile Walker" userId="S::kamiwalker@churchofjesuschrist.org::a6eb77e7-33bd-4c57-a3cf-538d131ebd75" providerId="AD" clId="Web-{A91C1C58-B1B7-50B2-5F9D-318835D5FCF3}" dt="2023-07-21T18:09:05.398" v="15" actId="1076"/>
          <ac:spMkLst>
            <pc:docMk/>
            <pc:sldMk cId="4270646571" sldId="797"/>
            <ac:spMk id="9" creationId="{BB15C4F1-E9E5-652F-3489-C6E81DA9DC88}"/>
          </ac:spMkLst>
        </pc:spChg>
      </pc:sldChg>
      <pc:sldChg chg="modSp">
        <pc:chgData name="Kamile Walker" userId="S::kamiwalker@churchofjesuschrist.org::a6eb77e7-33bd-4c57-a3cf-538d131ebd75" providerId="AD" clId="Web-{A91C1C58-B1B7-50B2-5F9D-318835D5FCF3}" dt="2023-07-21T18:18:05.997" v="86" actId="14100"/>
        <pc:sldMkLst>
          <pc:docMk/>
          <pc:sldMk cId="3193910333" sldId="801"/>
        </pc:sldMkLst>
        <pc:spChg chg="mod">
          <ac:chgData name="Kamile Walker" userId="S::kamiwalker@churchofjesuschrist.org::a6eb77e7-33bd-4c57-a3cf-538d131ebd75" providerId="AD" clId="Web-{A91C1C58-B1B7-50B2-5F9D-318835D5FCF3}" dt="2023-07-21T18:18:03.169" v="85" actId="14100"/>
          <ac:spMkLst>
            <pc:docMk/>
            <pc:sldMk cId="3193910333" sldId="801"/>
            <ac:spMk id="11" creationId="{E0A6B640-4DBB-934E-8C59-733B3773CBFA}"/>
          </ac:spMkLst>
        </pc:spChg>
        <pc:spChg chg="mod">
          <ac:chgData name="Kamile Walker" userId="S::kamiwalker@churchofjesuschrist.org::a6eb77e7-33bd-4c57-a3cf-538d131ebd75" providerId="AD" clId="Web-{A91C1C58-B1B7-50B2-5F9D-318835D5FCF3}" dt="2023-07-21T18:18:05.997" v="86" actId="14100"/>
          <ac:spMkLst>
            <pc:docMk/>
            <pc:sldMk cId="3193910333" sldId="801"/>
            <ac:spMk id="17" creationId="{F8C23890-11F5-564B-88D0-051E87283A37}"/>
          </ac:spMkLst>
        </pc:spChg>
      </pc:sldChg>
      <pc:sldChg chg="modSp">
        <pc:chgData name="Kamile Walker" userId="S::kamiwalker@churchofjesuschrist.org::a6eb77e7-33bd-4c57-a3cf-538d131ebd75" providerId="AD" clId="Web-{A91C1C58-B1B7-50B2-5F9D-318835D5FCF3}" dt="2023-07-21T18:09:55.446" v="21" actId="14100"/>
        <pc:sldMkLst>
          <pc:docMk/>
          <pc:sldMk cId="3075817669" sldId="805"/>
        </pc:sldMkLst>
        <pc:spChg chg="mod">
          <ac:chgData name="Kamile Walker" userId="S::kamiwalker@churchofjesuschrist.org::a6eb77e7-33bd-4c57-a3cf-538d131ebd75" providerId="AD" clId="Web-{A91C1C58-B1B7-50B2-5F9D-318835D5FCF3}" dt="2023-07-21T18:09:55.446" v="21" actId="14100"/>
          <ac:spMkLst>
            <pc:docMk/>
            <pc:sldMk cId="3075817669" sldId="805"/>
            <ac:spMk id="34" creationId="{416DF48E-CA52-29A7-3796-A2B845252115}"/>
          </ac:spMkLst>
        </pc:spChg>
      </pc:sldChg>
      <pc:sldChg chg="modSp">
        <pc:chgData name="Kamile Walker" userId="S::kamiwalker@churchofjesuschrist.org::a6eb77e7-33bd-4c57-a3cf-538d131ebd75" providerId="AD" clId="Web-{A91C1C58-B1B7-50B2-5F9D-318835D5FCF3}" dt="2023-07-21T18:17:48.699" v="83" actId="14100"/>
        <pc:sldMkLst>
          <pc:docMk/>
          <pc:sldMk cId="2744313862" sldId="807"/>
        </pc:sldMkLst>
        <pc:spChg chg="mod">
          <ac:chgData name="Kamile Walker" userId="S::kamiwalker@churchofjesuschrist.org::a6eb77e7-33bd-4c57-a3cf-538d131ebd75" providerId="AD" clId="Web-{A91C1C58-B1B7-50B2-5F9D-318835D5FCF3}" dt="2023-07-21T18:17:48.699" v="83" actId="14100"/>
          <ac:spMkLst>
            <pc:docMk/>
            <pc:sldMk cId="2744313862" sldId="807"/>
            <ac:spMk id="6" creationId="{09C67372-16C7-8323-2094-418D5E879626}"/>
          </ac:spMkLst>
        </pc:spChg>
      </pc:sldChg>
      <pc:sldChg chg="modSp">
        <pc:chgData name="Kamile Walker" userId="S::kamiwalker@churchofjesuschrist.org::a6eb77e7-33bd-4c57-a3cf-538d131ebd75" providerId="AD" clId="Web-{A91C1C58-B1B7-50B2-5F9D-318835D5FCF3}" dt="2023-07-21T18:17:33.105" v="81" actId="14100"/>
        <pc:sldMkLst>
          <pc:docMk/>
          <pc:sldMk cId="2626650125" sldId="808"/>
        </pc:sldMkLst>
        <pc:spChg chg="mod">
          <ac:chgData name="Kamile Walker" userId="S::kamiwalker@churchofjesuschrist.org::a6eb77e7-33bd-4c57-a3cf-538d131ebd75" providerId="AD" clId="Web-{A91C1C58-B1B7-50B2-5F9D-318835D5FCF3}" dt="2023-07-21T18:17:33.105" v="81" actId="14100"/>
          <ac:spMkLst>
            <pc:docMk/>
            <pc:sldMk cId="2626650125" sldId="808"/>
            <ac:spMk id="6" creationId="{D4E20C81-273A-914E-0603-17C8EC006BC0}"/>
          </ac:spMkLst>
        </pc:spChg>
      </pc:sldChg>
      <pc:sldChg chg="modSp">
        <pc:chgData name="Kamile Walker" userId="S::kamiwalker@churchofjesuschrist.org::a6eb77e7-33bd-4c57-a3cf-538d131ebd75" providerId="AD" clId="Web-{A91C1C58-B1B7-50B2-5F9D-318835D5FCF3}" dt="2023-07-21T18:53:06.048" v="173" actId="1076"/>
        <pc:sldMkLst>
          <pc:docMk/>
          <pc:sldMk cId="1507861903" sldId="810"/>
        </pc:sldMkLst>
        <pc:spChg chg="mod">
          <ac:chgData name="Kamile Walker" userId="S::kamiwalker@churchofjesuschrist.org::a6eb77e7-33bd-4c57-a3cf-538d131ebd75" providerId="AD" clId="Web-{A91C1C58-B1B7-50B2-5F9D-318835D5FCF3}" dt="2023-07-21T18:09:28.289" v="18" actId="1076"/>
          <ac:spMkLst>
            <pc:docMk/>
            <pc:sldMk cId="1507861903" sldId="810"/>
            <ac:spMk id="15" creationId="{2180867A-7A2D-8F56-6F3F-4282B2D6FEA7}"/>
          </ac:spMkLst>
        </pc:spChg>
        <pc:spChg chg="mod">
          <ac:chgData name="Kamile Walker" userId="S::kamiwalker@churchofjesuschrist.org::a6eb77e7-33bd-4c57-a3cf-538d131ebd75" providerId="AD" clId="Web-{A91C1C58-B1B7-50B2-5F9D-318835D5FCF3}" dt="2023-07-21T18:09:36.133" v="20" actId="14100"/>
          <ac:spMkLst>
            <pc:docMk/>
            <pc:sldMk cId="1507861903" sldId="810"/>
            <ac:spMk id="16" creationId="{A4C92C61-E294-ECD3-90F3-9A44ECE5A61A}"/>
          </ac:spMkLst>
        </pc:spChg>
        <pc:picChg chg="mod">
          <ac:chgData name="Kamile Walker" userId="S::kamiwalker@churchofjesuschrist.org::a6eb77e7-33bd-4c57-a3cf-538d131ebd75" providerId="AD" clId="Web-{A91C1C58-B1B7-50B2-5F9D-318835D5FCF3}" dt="2023-07-21T18:53:06.048" v="173" actId="1076"/>
          <ac:picMkLst>
            <pc:docMk/>
            <pc:sldMk cId="1507861903" sldId="810"/>
            <ac:picMk id="3" creationId="{DD47FAD8-AD10-E57E-FBD1-C7CEB01A552A}"/>
          </ac:picMkLst>
        </pc:picChg>
      </pc:sldChg>
      <pc:sldChg chg="modSp">
        <pc:chgData name="Kamile Walker" userId="S::kamiwalker@churchofjesuschrist.org::a6eb77e7-33bd-4c57-a3cf-538d131ebd75" providerId="AD" clId="Web-{A91C1C58-B1B7-50B2-5F9D-318835D5FCF3}" dt="2023-07-21T18:14:44.708" v="62" actId="14100"/>
        <pc:sldMkLst>
          <pc:docMk/>
          <pc:sldMk cId="1441974530" sldId="815"/>
        </pc:sldMkLst>
        <pc:spChg chg="mod">
          <ac:chgData name="Kamile Walker" userId="S::kamiwalker@churchofjesuschrist.org::a6eb77e7-33bd-4c57-a3cf-538d131ebd75" providerId="AD" clId="Web-{A91C1C58-B1B7-50B2-5F9D-318835D5FCF3}" dt="2023-07-21T18:14:44.708" v="62" actId="14100"/>
          <ac:spMkLst>
            <pc:docMk/>
            <pc:sldMk cId="1441974530" sldId="815"/>
            <ac:spMk id="3" creationId="{BE07B411-CDC2-D3FF-7B15-5B15B41B0571}"/>
          </ac:spMkLst>
        </pc:spChg>
      </pc:sldChg>
      <pc:sldChg chg="modSp">
        <pc:chgData name="Kamile Walker" userId="S::kamiwalker@churchofjesuschrist.org::a6eb77e7-33bd-4c57-a3cf-538d131ebd75" providerId="AD" clId="Web-{A91C1C58-B1B7-50B2-5F9D-318835D5FCF3}" dt="2023-07-21T18:17:41.590" v="82" actId="1076"/>
        <pc:sldMkLst>
          <pc:docMk/>
          <pc:sldMk cId="1480508468" sldId="816"/>
        </pc:sldMkLst>
        <pc:spChg chg="mod">
          <ac:chgData name="Kamile Walker" userId="S::kamiwalker@churchofjesuschrist.org::a6eb77e7-33bd-4c57-a3cf-538d131ebd75" providerId="AD" clId="Web-{A91C1C58-B1B7-50B2-5F9D-318835D5FCF3}" dt="2023-07-21T18:17:41.590" v="82" actId="1076"/>
          <ac:spMkLst>
            <pc:docMk/>
            <pc:sldMk cId="1480508468" sldId="816"/>
            <ac:spMk id="4" creationId="{A94374B5-F2B9-7340-A780-6E9CB520CA88}"/>
          </ac:spMkLst>
        </pc:spChg>
      </pc:sldChg>
      <pc:sldChg chg="modSp">
        <pc:chgData name="Kamile Walker" userId="S::kamiwalker@churchofjesuschrist.org::a6eb77e7-33bd-4c57-a3cf-538d131ebd75" providerId="AD" clId="Web-{A91C1C58-B1B7-50B2-5F9D-318835D5FCF3}" dt="2023-07-21T18:14:53.974" v="63" actId="14100"/>
        <pc:sldMkLst>
          <pc:docMk/>
          <pc:sldMk cId="3056659758" sldId="817"/>
        </pc:sldMkLst>
        <pc:spChg chg="mod">
          <ac:chgData name="Kamile Walker" userId="S::kamiwalker@churchofjesuschrist.org::a6eb77e7-33bd-4c57-a3cf-538d131ebd75" providerId="AD" clId="Web-{A91C1C58-B1B7-50B2-5F9D-318835D5FCF3}" dt="2023-07-21T18:14:53.974" v="63" actId="14100"/>
          <ac:spMkLst>
            <pc:docMk/>
            <pc:sldMk cId="3056659758" sldId="817"/>
            <ac:spMk id="3" creationId="{BE07B411-CDC2-D3FF-7B15-5B15B41B0571}"/>
          </ac:spMkLst>
        </pc:spChg>
      </pc:sldChg>
      <pc:sldChg chg="modSp">
        <pc:chgData name="Kamile Walker" userId="S::kamiwalker@churchofjesuschrist.org::a6eb77e7-33bd-4c57-a3cf-538d131ebd75" providerId="AD" clId="Web-{A91C1C58-B1B7-50B2-5F9D-318835D5FCF3}" dt="2023-07-21T18:11:27.966" v="36" actId="1076"/>
        <pc:sldMkLst>
          <pc:docMk/>
          <pc:sldMk cId="3569784783" sldId="819"/>
        </pc:sldMkLst>
        <pc:spChg chg="mod">
          <ac:chgData name="Kamile Walker" userId="S::kamiwalker@churchofjesuschrist.org::a6eb77e7-33bd-4c57-a3cf-538d131ebd75" providerId="AD" clId="Web-{A91C1C58-B1B7-50B2-5F9D-318835D5FCF3}" dt="2023-07-21T18:11:27.966" v="36" actId="1076"/>
          <ac:spMkLst>
            <pc:docMk/>
            <pc:sldMk cId="3569784783" sldId="819"/>
            <ac:spMk id="20" creationId="{16521770-80B6-B447-80F3-E433B45DFE28}"/>
          </ac:spMkLst>
        </pc:spChg>
        <pc:spChg chg="mod">
          <ac:chgData name="Kamile Walker" userId="S::kamiwalker@churchofjesuschrist.org::a6eb77e7-33bd-4c57-a3cf-538d131ebd75" providerId="AD" clId="Web-{A91C1C58-B1B7-50B2-5F9D-318835D5FCF3}" dt="2023-07-21T18:11:00.996" v="32" actId="1076"/>
          <ac:spMkLst>
            <pc:docMk/>
            <pc:sldMk cId="3569784783" sldId="819"/>
            <ac:spMk id="27" creationId="{061D94E2-836E-EE4F-AC2E-903DE5C55B97}"/>
          </ac:spMkLst>
        </pc:spChg>
        <pc:spChg chg="mod">
          <ac:chgData name="Kamile Walker" userId="S::kamiwalker@churchofjesuschrist.org::a6eb77e7-33bd-4c57-a3cf-538d131ebd75" providerId="AD" clId="Web-{A91C1C58-B1B7-50B2-5F9D-318835D5FCF3}" dt="2023-07-21T18:11:18.387" v="35" actId="1076"/>
          <ac:spMkLst>
            <pc:docMk/>
            <pc:sldMk cId="3569784783" sldId="819"/>
            <ac:spMk id="28" creationId="{2DF252B8-74CF-F44D-9C66-D414C0B370E9}"/>
          </ac:spMkLst>
        </pc:spChg>
        <pc:spChg chg="mod">
          <ac:chgData name="Kamile Walker" userId="S::kamiwalker@churchofjesuschrist.org::a6eb77e7-33bd-4c57-a3cf-538d131ebd75" providerId="AD" clId="Web-{A91C1C58-B1B7-50B2-5F9D-318835D5FCF3}" dt="2023-07-21T18:10:28.510" v="26" actId="1076"/>
          <ac:spMkLst>
            <pc:docMk/>
            <pc:sldMk cId="3569784783" sldId="819"/>
            <ac:spMk id="29" creationId="{CED74288-F993-2A4C-A717-1C6A7F535098}"/>
          </ac:spMkLst>
        </pc:spChg>
        <pc:picChg chg="mod">
          <ac:chgData name="Kamile Walker" userId="S::kamiwalker@churchofjesuschrist.org::a6eb77e7-33bd-4c57-a3cf-538d131ebd75" providerId="AD" clId="Web-{A91C1C58-B1B7-50B2-5F9D-318835D5FCF3}" dt="2023-07-21T18:10:28.510" v="25" actId="1076"/>
          <ac:picMkLst>
            <pc:docMk/>
            <pc:sldMk cId="3569784783" sldId="819"/>
            <ac:picMk id="15" creationId="{4751089D-F608-11C4-D7FE-8747798B7545}"/>
          </ac:picMkLst>
        </pc:picChg>
        <pc:picChg chg="mod">
          <ac:chgData name="Kamile Walker" userId="S::kamiwalker@churchofjesuschrist.org::a6eb77e7-33bd-4c57-a3cf-538d131ebd75" providerId="AD" clId="Web-{A91C1C58-B1B7-50B2-5F9D-318835D5FCF3}" dt="2023-07-21T18:11:18.387" v="34" actId="1076"/>
          <ac:picMkLst>
            <pc:docMk/>
            <pc:sldMk cId="3569784783" sldId="819"/>
            <ac:picMk id="17" creationId="{75FD2F3B-D7F7-621E-F062-E1CBD8B19254}"/>
          </ac:picMkLst>
        </pc:picChg>
        <pc:picChg chg="mod">
          <ac:chgData name="Kamile Walker" userId="S::kamiwalker@churchofjesuschrist.org::a6eb77e7-33bd-4c57-a3cf-538d131ebd75" providerId="AD" clId="Web-{A91C1C58-B1B7-50B2-5F9D-318835D5FCF3}" dt="2023-07-21T18:11:10.653" v="33" actId="1076"/>
          <ac:picMkLst>
            <pc:docMk/>
            <pc:sldMk cId="3569784783" sldId="819"/>
            <ac:picMk id="21" creationId="{35A9E54B-D6E0-9249-69DD-E5E96D4812DE}"/>
          </ac:picMkLst>
        </pc:picChg>
      </pc:sldChg>
      <pc:sldChg chg="modSp">
        <pc:chgData name="Kamile Walker" userId="S::kamiwalker@churchofjesuschrist.org::a6eb77e7-33bd-4c57-a3cf-538d131ebd75" providerId="AD" clId="Web-{A91C1C58-B1B7-50B2-5F9D-318835D5FCF3}" dt="2023-07-21T18:12:30.312" v="46" actId="1076"/>
        <pc:sldMkLst>
          <pc:docMk/>
          <pc:sldMk cId="1652657516" sldId="820"/>
        </pc:sldMkLst>
        <pc:spChg chg="mod">
          <ac:chgData name="Kamile Walker" userId="S::kamiwalker@churchofjesuschrist.org::a6eb77e7-33bd-4c57-a3cf-538d131ebd75" providerId="AD" clId="Web-{A91C1C58-B1B7-50B2-5F9D-318835D5FCF3}" dt="2023-07-21T18:12:14.718" v="43" actId="1076"/>
          <ac:spMkLst>
            <pc:docMk/>
            <pc:sldMk cId="1652657516" sldId="820"/>
            <ac:spMk id="15" creationId="{BE770EFB-6961-C091-C1B2-C551AA033ED2}"/>
          </ac:spMkLst>
        </pc:spChg>
        <pc:spChg chg="mod">
          <ac:chgData name="Kamile Walker" userId="S::kamiwalker@churchofjesuschrist.org::a6eb77e7-33bd-4c57-a3cf-538d131ebd75" providerId="AD" clId="Web-{A91C1C58-B1B7-50B2-5F9D-318835D5FCF3}" dt="2023-07-21T18:11:57.482" v="38" actId="1076"/>
          <ac:spMkLst>
            <pc:docMk/>
            <pc:sldMk cId="1652657516" sldId="820"/>
            <ac:spMk id="16" creationId="{EFA081FD-9098-3A38-3995-211EBEBA672C}"/>
          </ac:spMkLst>
        </pc:spChg>
        <pc:spChg chg="mod">
          <ac:chgData name="Kamile Walker" userId="S::kamiwalker@churchofjesuschrist.org::a6eb77e7-33bd-4c57-a3cf-538d131ebd75" providerId="AD" clId="Web-{A91C1C58-B1B7-50B2-5F9D-318835D5FCF3}" dt="2023-07-21T18:12:22.983" v="45" actId="1076"/>
          <ac:spMkLst>
            <pc:docMk/>
            <pc:sldMk cId="1652657516" sldId="820"/>
            <ac:spMk id="17" creationId="{971D078D-E770-9DDC-AAA4-4C5521326957}"/>
          </ac:spMkLst>
        </pc:spChg>
        <pc:picChg chg="mod">
          <ac:chgData name="Kamile Walker" userId="S::kamiwalker@churchofjesuschrist.org::a6eb77e7-33bd-4c57-a3cf-538d131ebd75" providerId="AD" clId="Web-{A91C1C58-B1B7-50B2-5F9D-318835D5FCF3}" dt="2023-07-21T18:12:19.218" v="44" actId="1076"/>
          <ac:picMkLst>
            <pc:docMk/>
            <pc:sldMk cId="1652657516" sldId="820"/>
            <ac:picMk id="12" creationId="{1F256DD5-6568-B3D0-1D02-411E0802F654}"/>
          </ac:picMkLst>
        </pc:picChg>
        <pc:picChg chg="mod">
          <ac:chgData name="Kamile Walker" userId="S::kamiwalker@churchofjesuschrist.org::a6eb77e7-33bd-4c57-a3cf-538d131ebd75" providerId="AD" clId="Web-{A91C1C58-B1B7-50B2-5F9D-318835D5FCF3}" dt="2023-07-21T18:12:04.655" v="40" actId="1076"/>
          <ac:picMkLst>
            <pc:docMk/>
            <pc:sldMk cId="1652657516" sldId="820"/>
            <ac:picMk id="13" creationId="{01A3FC43-DFC9-F444-9663-844F9993DB6C}"/>
          </ac:picMkLst>
        </pc:picChg>
        <pc:picChg chg="mod">
          <ac:chgData name="Kamile Walker" userId="S::kamiwalker@churchofjesuschrist.org::a6eb77e7-33bd-4c57-a3cf-538d131ebd75" providerId="AD" clId="Web-{A91C1C58-B1B7-50B2-5F9D-318835D5FCF3}" dt="2023-07-21T18:12:30.312" v="46" actId="1076"/>
          <ac:picMkLst>
            <pc:docMk/>
            <pc:sldMk cId="1652657516" sldId="820"/>
            <ac:picMk id="14" creationId="{6074E156-2D2C-C853-A71B-0706B2FAC757}"/>
          </ac:picMkLst>
        </pc:picChg>
      </pc:sldChg>
      <pc:sldChg chg="modSp">
        <pc:chgData name="Kamile Walker" userId="S::kamiwalker@churchofjesuschrist.org::a6eb77e7-33bd-4c57-a3cf-538d131ebd75" providerId="AD" clId="Web-{A91C1C58-B1B7-50B2-5F9D-318835D5FCF3}" dt="2023-07-21T18:13:11.126" v="53" actId="1076"/>
        <pc:sldMkLst>
          <pc:docMk/>
          <pc:sldMk cId="1753766256" sldId="821"/>
        </pc:sldMkLst>
        <pc:spChg chg="mod">
          <ac:chgData name="Kamile Walker" userId="S::kamiwalker@churchofjesuschrist.org::a6eb77e7-33bd-4c57-a3cf-538d131ebd75" providerId="AD" clId="Web-{A91C1C58-B1B7-50B2-5F9D-318835D5FCF3}" dt="2023-07-21T18:13:11.126" v="53" actId="1076"/>
          <ac:spMkLst>
            <pc:docMk/>
            <pc:sldMk cId="1753766256" sldId="821"/>
            <ac:spMk id="10" creationId="{8341FD57-6A23-9EAE-4BDD-CAC349729806}"/>
          </ac:spMkLst>
        </pc:spChg>
        <pc:spChg chg="mod">
          <ac:chgData name="Kamile Walker" userId="S::kamiwalker@churchofjesuschrist.org::a6eb77e7-33bd-4c57-a3cf-538d131ebd75" providerId="AD" clId="Web-{A91C1C58-B1B7-50B2-5F9D-318835D5FCF3}" dt="2023-07-21T18:13:07.095" v="51" actId="1076"/>
          <ac:spMkLst>
            <pc:docMk/>
            <pc:sldMk cId="1753766256" sldId="821"/>
            <ac:spMk id="12" creationId="{6C59D464-D814-8A2A-D041-1B74971D1040}"/>
          </ac:spMkLst>
        </pc:spChg>
        <pc:picChg chg="mod">
          <ac:chgData name="Kamile Walker" userId="S::kamiwalker@churchofjesuschrist.org::a6eb77e7-33bd-4c57-a3cf-538d131ebd75" providerId="AD" clId="Web-{A91C1C58-B1B7-50B2-5F9D-318835D5FCF3}" dt="2023-07-21T18:13:07.704" v="52" actId="1076"/>
          <ac:picMkLst>
            <pc:docMk/>
            <pc:sldMk cId="1753766256" sldId="821"/>
            <ac:picMk id="15" creationId="{8A83AB06-9D28-F46A-961D-EF3C41462677}"/>
          </ac:picMkLst>
        </pc:picChg>
      </pc:sldChg>
      <pc:sldChg chg="modSp">
        <pc:chgData name="Kamile Walker" userId="S::kamiwalker@churchofjesuschrist.org::a6eb77e7-33bd-4c57-a3cf-538d131ebd75" providerId="AD" clId="Web-{A91C1C58-B1B7-50B2-5F9D-318835D5FCF3}" dt="2023-07-21T18:11:42.669" v="37" actId="1076"/>
        <pc:sldMkLst>
          <pc:docMk/>
          <pc:sldMk cId="3699205717" sldId="823"/>
        </pc:sldMkLst>
        <pc:spChg chg="mod">
          <ac:chgData name="Kamile Walker" userId="S::kamiwalker@churchofjesuschrist.org::a6eb77e7-33bd-4c57-a3cf-538d131ebd75" providerId="AD" clId="Web-{A91C1C58-B1B7-50B2-5F9D-318835D5FCF3}" dt="2023-07-21T18:11:42.669" v="37" actId="1076"/>
          <ac:spMkLst>
            <pc:docMk/>
            <pc:sldMk cId="3699205717" sldId="823"/>
            <ac:spMk id="6" creationId="{03DB7BEA-64A9-8BC2-B0AF-DFD61C001233}"/>
          </ac:spMkLst>
        </pc:spChg>
      </pc:sldChg>
      <pc:sldChg chg="modSp">
        <pc:chgData name="Kamile Walker" userId="S::kamiwalker@churchofjesuschrist.org::a6eb77e7-33bd-4c57-a3cf-538d131ebd75" providerId="AD" clId="Web-{A91C1C58-B1B7-50B2-5F9D-318835D5FCF3}" dt="2023-07-21T18:14:35.629" v="61" actId="1076"/>
        <pc:sldMkLst>
          <pc:docMk/>
          <pc:sldMk cId="3388375151" sldId="826"/>
        </pc:sldMkLst>
        <pc:spChg chg="mod ord">
          <ac:chgData name="Kamile Walker" userId="S::kamiwalker@churchofjesuschrist.org::a6eb77e7-33bd-4c57-a3cf-538d131ebd75" providerId="AD" clId="Web-{A91C1C58-B1B7-50B2-5F9D-318835D5FCF3}" dt="2023-07-21T18:14:21.129" v="58" actId="1076"/>
          <ac:spMkLst>
            <pc:docMk/>
            <pc:sldMk cId="3388375151" sldId="826"/>
            <ac:spMk id="3" creationId="{7C481D4E-3A9E-6581-F474-8B4DC57625E6}"/>
          </ac:spMkLst>
        </pc:spChg>
        <pc:spChg chg="mod">
          <ac:chgData name="Kamile Walker" userId="S::kamiwalker@churchofjesuschrist.org::a6eb77e7-33bd-4c57-a3cf-538d131ebd75" providerId="AD" clId="Web-{A91C1C58-B1B7-50B2-5F9D-318835D5FCF3}" dt="2023-07-21T18:14:31.317" v="59" actId="1076"/>
          <ac:spMkLst>
            <pc:docMk/>
            <pc:sldMk cId="3388375151" sldId="826"/>
            <ac:spMk id="5" creationId="{07B22FE7-E9AD-1295-89CE-0E95D93FF3AF}"/>
          </ac:spMkLst>
        </pc:spChg>
        <pc:spChg chg="mod">
          <ac:chgData name="Kamile Walker" userId="S::kamiwalker@churchofjesuschrist.org::a6eb77e7-33bd-4c57-a3cf-538d131ebd75" providerId="AD" clId="Web-{A91C1C58-B1B7-50B2-5F9D-318835D5FCF3}" dt="2023-07-21T18:14:35.629" v="61" actId="1076"/>
          <ac:spMkLst>
            <pc:docMk/>
            <pc:sldMk cId="3388375151" sldId="826"/>
            <ac:spMk id="6" creationId="{03DB7BEA-64A9-8BC2-B0AF-DFD61C001233}"/>
          </ac:spMkLst>
        </pc:spChg>
        <pc:picChg chg="ord">
          <ac:chgData name="Kamile Walker" userId="S::kamiwalker@churchofjesuschrist.org::a6eb77e7-33bd-4c57-a3cf-538d131ebd75" providerId="AD" clId="Web-{A91C1C58-B1B7-50B2-5F9D-318835D5FCF3}" dt="2023-07-21T18:14:12.691" v="57"/>
          <ac:picMkLst>
            <pc:docMk/>
            <pc:sldMk cId="3388375151" sldId="826"/>
            <ac:picMk id="4" creationId="{BAAC49E4-DAA1-2330-407C-E3EDD89D35FD}"/>
          </ac:picMkLst>
        </pc:picChg>
        <pc:picChg chg="mod">
          <ac:chgData name="Kamile Walker" userId="S::kamiwalker@churchofjesuschrist.org::a6eb77e7-33bd-4c57-a3cf-538d131ebd75" providerId="AD" clId="Web-{A91C1C58-B1B7-50B2-5F9D-318835D5FCF3}" dt="2023-07-21T18:14:31.317" v="60" actId="1076"/>
          <ac:picMkLst>
            <pc:docMk/>
            <pc:sldMk cId="3388375151" sldId="826"/>
            <ac:picMk id="8" creationId="{2E9F2A2E-C102-077C-0022-A9BC926B21A7}"/>
          </ac:picMkLst>
        </pc:picChg>
      </pc:sldChg>
      <pc:sldChg chg="modSp">
        <pc:chgData name="Kamile Walker" userId="S::kamiwalker@churchofjesuschrist.org::a6eb77e7-33bd-4c57-a3cf-538d131ebd75" providerId="AD" clId="Web-{A91C1C58-B1B7-50B2-5F9D-318835D5FCF3}" dt="2023-07-21T18:16:13.946" v="73" actId="1076"/>
        <pc:sldMkLst>
          <pc:docMk/>
          <pc:sldMk cId="787964137" sldId="827"/>
        </pc:sldMkLst>
        <pc:spChg chg="mod">
          <ac:chgData name="Kamile Walker" userId="S::kamiwalker@churchofjesuschrist.org::a6eb77e7-33bd-4c57-a3cf-538d131ebd75" providerId="AD" clId="Web-{A91C1C58-B1B7-50B2-5F9D-318835D5FCF3}" dt="2023-07-21T18:16:05.383" v="72" actId="1076"/>
          <ac:spMkLst>
            <pc:docMk/>
            <pc:sldMk cId="787964137" sldId="827"/>
            <ac:spMk id="6" creationId="{03DB7BEA-64A9-8BC2-B0AF-DFD61C001233}"/>
          </ac:spMkLst>
        </pc:spChg>
        <pc:spChg chg="mod">
          <ac:chgData name="Kamile Walker" userId="S::kamiwalker@churchofjesuschrist.org::a6eb77e7-33bd-4c57-a3cf-538d131ebd75" providerId="AD" clId="Web-{A91C1C58-B1B7-50B2-5F9D-318835D5FCF3}" dt="2023-07-21T18:15:59.492" v="70" actId="1076"/>
          <ac:spMkLst>
            <pc:docMk/>
            <pc:sldMk cId="787964137" sldId="827"/>
            <ac:spMk id="7" creationId="{3D54DC1D-795B-CFD9-404F-0F73FCE19CC1}"/>
          </ac:spMkLst>
        </pc:spChg>
        <pc:picChg chg="mod">
          <ac:chgData name="Kamile Walker" userId="S::kamiwalker@churchofjesuschrist.org::a6eb77e7-33bd-4c57-a3cf-538d131ebd75" providerId="AD" clId="Web-{A91C1C58-B1B7-50B2-5F9D-318835D5FCF3}" dt="2023-07-21T18:16:13.946" v="73" actId="1076"/>
          <ac:picMkLst>
            <pc:docMk/>
            <pc:sldMk cId="787964137" sldId="827"/>
            <ac:picMk id="4" creationId="{00116DBE-508C-B3C7-FB0C-B5908D6D3A55}"/>
          </ac:picMkLst>
        </pc:picChg>
      </pc:sldChg>
      <pc:sldChg chg="modSp">
        <pc:chgData name="Kamile Walker" userId="S::kamiwalker@churchofjesuschrist.org::a6eb77e7-33bd-4c57-a3cf-538d131ebd75" providerId="AD" clId="Web-{A91C1C58-B1B7-50B2-5F9D-318835D5FCF3}" dt="2023-07-21T18:15:31.303" v="68" actId="14100"/>
        <pc:sldMkLst>
          <pc:docMk/>
          <pc:sldMk cId="397379151" sldId="829"/>
        </pc:sldMkLst>
        <pc:spChg chg="mod">
          <ac:chgData name="Kamile Walker" userId="S::kamiwalker@churchofjesuschrist.org::a6eb77e7-33bd-4c57-a3cf-538d131ebd75" providerId="AD" clId="Web-{A91C1C58-B1B7-50B2-5F9D-318835D5FCF3}" dt="2023-07-21T18:15:31.303" v="68" actId="14100"/>
          <ac:spMkLst>
            <pc:docMk/>
            <pc:sldMk cId="397379151" sldId="829"/>
            <ac:spMk id="6" creationId="{EA940E73-F53B-77D0-FDC1-FA51DF406EF8}"/>
          </ac:spMkLst>
        </pc:spChg>
      </pc:sldChg>
      <pc:sldChg chg="modSp">
        <pc:chgData name="Kamile Walker" userId="S::kamiwalker@churchofjesuschrist.org::a6eb77e7-33bd-4c57-a3cf-538d131ebd75" providerId="AD" clId="Web-{A91C1C58-B1B7-50B2-5F9D-318835D5FCF3}" dt="2023-07-21T18:15:43.257" v="69" actId="1076"/>
        <pc:sldMkLst>
          <pc:docMk/>
          <pc:sldMk cId="2716860405" sldId="830"/>
        </pc:sldMkLst>
        <pc:spChg chg="mod">
          <ac:chgData name="Kamile Walker" userId="S::kamiwalker@churchofjesuschrist.org::a6eb77e7-33bd-4c57-a3cf-538d131ebd75" providerId="AD" clId="Web-{A91C1C58-B1B7-50B2-5F9D-318835D5FCF3}" dt="2023-07-21T18:15:43.257" v="69" actId="1076"/>
          <ac:spMkLst>
            <pc:docMk/>
            <pc:sldMk cId="2716860405" sldId="830"/>
            <ac:spMk id="4" creationId="{A94374B5-F2B9-7340-A780-6E9CB520CA88}"/>
          </ac:spMkLst>
        </pc:spChg>
      </pc:sldChg>
    </pc:docChg>
  </pc:docChgLst>
  <pc:docChgLst>
    <pc:chgData name="Heidi Jean Harms" userId="S::heidiharms@churchofjesuschrist.org::b7342844-2534-4d4b-8710-0632f461dd8c" providerId="AD" clId="Web-{692C8E0C-5E21-EB6B-C2D2-C644FA6BCC5E}"/>
    <pc:docChg chg="modSld">
      <pc:chgData name="Heidi Jean Harms" userId="S::heidiharms@churchofjesuschrist.org::b7342844-2534-4d4b-8710-0632f461dd8c" providerId="AD" clId="Web-{692C8E0C-5E21-EB6B-C2D2-C644FA6BCC5E}" dt="2023-07-26T16:39:12.601" v="36" actId="1076"/>
      <pc:docMkLst>
        <pc:docMk/>
      </pc:docMkLst>
      <pc:sldChg chg="modSp">
        <pc:chgData name="Heidi Jean Harms" userId="S::heidiharms@churchofjesuschrist.org::b7342844-2534-4d4b-8710-0632f461dd8c" providerId="AD" clId="Web-{692C8E0C-5E21-EB6B-C2D2-C644FA6BCC5E}" dt="2023-07-26T16:37:33.302" v="21" actId="20577"/>
        <pc:sldMkLst>
          <pc:docMk/>
          <pc:sldMk cId="2180367955" sldId="660"/>
        </pc:sldMkLst>
        <pc:spChg chg="mod">
          <ac:chgData name="Heidi Jean Harms" userId="S::heidiharms@churchofjesuschrist.org::b7342844-2534-4d4b-8710-0632f461dd8c" providerId="AD" clId="Web-{692C8E0C-5E21-EB6B-C2D2-C644FA6BCC5E}" dt="2023-07-26T16:37:33.302" v="21" actId="20577"/>
          <ac:spMkLst>
            <pc:docMk/>
            <pc:sldMk cId="2180367955" sldId="660"/>
            <ac:spMk id="4" creationId="{B584CEB7-306D-9D4B-8A46-9E23D7A9C839}"/>
          </ac:spMkLst>
        </pc:spChg>
      </pc:sldChg>
      <pc:sldChg chg="modSp">
        <pc:chgData name="Heidi Jean Harms" userId="S::heidiharms@churchofjesuschrist.org::b7342844-2534-4d4b-8710-0632f461dd8c" providerId="AD" clId="Web-{692C8E0C-5E21-EB6B-C2D2-C644FA6BCC5E}" dt="2023-07-26T16:38:23.381" v="32" actId="20577"/>
        <pc:sldMkLst>
          <pc:docMk/>
          <pc:sldMk cId="3072156505" sldId="768"/>
        </pc:sldMkLst>
        <pc:spChg chg="mod">
          <ac:chgData name="Heidi Jean Harms" userId="S::heidiharms@churchofjesuschrist.org::b7342844-2534-4d4b-8710-0632f461dd8c" providerId="AD" clId="Web-{692C8E0C-5E21-EB6B-C2D2-C644FA6BCC5E}" dt="2023-07-26T16:38:23.381" v="32" actId="20577"/>
          <ac:spMkLst>
            <pc:docMk/>
            <pc:sldMk cId="3072156505" sldId="768"/>
            <ac:spMk id="6" creationId="{EC4FCF43-E4C8-D64C-86C6-C8705D0B98CC}"/>
          </ac:spMkLst>
        </pc:spChg>
      </pc:sldChg>
      <pc:sldChg chg="modSp">
        <pc:chgData name="Heidi Jean Harms" userId="S::heidiharms@churchofjesuschrist.org::b7342844-2534-4d4b-8710-0632f461dd8c" providerId="AD" clId="Web-{692C8E0C-5E21-EB6B-C2D2-C644FA6BCC5E}" dt="2023-07-26T16:39:12.601" v="36" actId="1076"/>
        <pc:sldMkLst>
          <pc:docMk/>
          <pc:sldMk cId="29013491" sldId="769"/>
        </pc:sldMkLst>
        <pc:spChg chg="mod">
          <ac:chgData name="Heidi Jean Harms" userId="S::heidiharms@churchofjesuschrist.org::b7342844-2534-4d4b-8710-0632f461dd8c" providerId="AD" clId="Web-{692C8E0C-5E21-EB6B-C2D2-C644FA6BCC5E}" dt="2023-07-26T16:38:58.835" v="34" actId="1076"/>
          <ac:spMkLst>
            <pc:docMk/>
            <pc:sldMk cId="29013491" sldId="769"/>
            <ac:spMk id="3" creationId="{D8403070-DEEB-8143-B9ED-F146907EEFC3}"/>
          </ac:spMkLst>
        </pc:spChg>
        <pc:spChg chg="mod">
          <ac:chgData name="Heidi Jean Harms" userId="S::heidiharms@churchofjesuschrist.org::b7342844-2534-4d4b-8710-0632f461dd8c" providerId="AD" clId="Web-{692C8E0C-5E21-EB6B-C2D2-C644FA6BCC5E}" dt="2023-07-26T16:39:12.601" v="36" actId="1076"/>
          <ac:spMkLst>
            <pc:docMk/>
            <pc:sldMk cId="29013491" sldId="769"/>
            <ac:spMk id="5" creationId="{CD13F077-4AC6-394F-B59D-28A4A9055A36}"/>
          </ac:spMkLst>
        </pc:spChg>
        <pc:spChg chg="mod">
          <ac:chgData name="Heidi Jean Harms" userId="S::heidiharms@churchofjesuschrist.org::b7342844-2534-4d4b-8710-0632f461dd8c" providerId="AD" clId="Web-{692C8E0C-5E21-EB6B-C2D2-C644FA6BCC5E}" dt="2023-07-26T16:39:05.257" v="35" actId="1076"/>
          <ac:spMkLst>
            <pc:docMk/>
            <pc:sldMk cId="29013491" sldId="769"/>
            <ac:spMk id="10" creationId="{1C0FA216-8D3D-3047-8BAE-DA379674949C}"/>
          </ac:spMkLst>
        </pc:spChg>
        <pc:picChg chg="mod">
          <ac:chgData name="Heidi Jean Harms" userId="S::heidiharms@churchofjesuschrist.org::b7342844-2534-4d4b-8710-0632f461dd8c" providerId="AD" clId="Web-{692C8E0C-5E21-EB6B-C2D2-C644FA6BCC5E}" dt="2023-07-26T16:38:48.991" v="33" actId="1076"/>
          <ac:picMkLst>
            <pc:docMk/>
            <pc:sldMk cId="29013491" sldId="769"/>
            <ac:picMk id="9" creationId="{D09F6A7E-8767-AB5F-5259-DC7B083CF1FB}"/>
          </ac:picMkLst>
        </pc:picChg>
      </pc:sldChg>
      <pc:sldChg chg="modSp">
        <pc:chgData name="Heidi Jean Harms" userId="S::heidiharms@churchofjesuschrist.org::b7342844-2534-4d4b-8710-0632f461dd8c" providerId="AD" clId="Web-{692C8E0C-5E21-EB6B-C2D2-C644FA6BCC5E}" dt="2023-07-26T15:08:20.020" v="1" actId="1076"/>
        <pc:sldMkLst>
          <pc:docMk/>
          <pc:sldMk cId="2999881190" sldId="788"/>
        </pc:sldMkLst>
        <pc:spChg chg="mod">
          <ac:chgData name="Heidi Jean Harms" userId="S::heidiharms@churchofjesuschrist.org::b7342844-2534-4d4b-8710-0632f461dd8c" providerId="AD" clId="Web-{692C8E0C-5E21-EB6B-C2D2-C644FA6BCC5E}" dt="2023-07-26T15:08:20.020" v="1" actId="1076"/>
          <ac:spMkLst>
            <pc:docMk/>
            <pc:sldMk cId="2999881190" sldId="788"/>
            <ac:spMk id="2" creationId="{29993704-1A86-D204-ACD4-3DE44E38FA59}"/>
          </ac:spMkLst>
        </pc:spChg>
      </pc:sldChg>
      <pc:sldChg chg="modSp">
        <pc:chgData name="Heidi Jean Harms" userId="S::heidiharms@churchofjesuschrist.org::b7342844-2534-4d4b-8710-0632f461dd8c" providerId="AD" clId="Web-{692C8E0C-5E21-EB6B-C2D2-C644FA6BCC5E}" dt="2023-07-26T16:35:50.894" v="16" actId="1076"/>
        <pc:sldMkLst>
          <pc:docMk/>
          <pc:sldMk cId="3056659758" sldId="817"/>
        </pc:sldMkLst>
        <pc:spChg chg="mod">
          <ac:chgData name="Heidi Jean Harms" userId="S::heidiharms@churchofjesuschrist.org::b7342844-2534-4d4b-8710-0632f461dd8c" providerId="AD" clId="Web-{692C8E0C-5E21-EB6B-C2D2-C644FA6BCC5E}" dt="2023-07-26T15:08:01.004" v="0" actId="1076"/>
          <ac:spMkLst>
            <pc:docMk/>
            <pc:sldMk cId="3056659758" sldId="817"/>
            <ac:spMk id="8" creationId="{5864B0E4-E93F-F74B-7825-C74E2D53DD66}"/>
          </ac:spMkLst>
        </pc:spChg>
        <pc:spChg chg="mod">
          <ac:chgData name="Heidi Jean Harms" userId="S::heidiharms@churchofjesuschrist.org::b7342844-2534-4d4b-8710-0632f461dd8c" providerId="AD" clId="Web-{692C8E0C-5E21-EB6B-C2D2-C644FA6BCC5E}" dt="2023-07-26T16:35:50.894" v="16" actId="1076"/>
          <ac:spMkLst>
            <pc:docMk/>
            <pc:sldMk cId="3056659758" sldId="817"/>
            <ac:spMk id="10" creationId="{8A83D00C-10EA-BDD4-8B23-F2598E0AD45B}"/>
          </ac:spMkLst>
        </pc:spChg>
      </pc:sldChg>
      <pc:sldChg chg="modSp">
        <pc:chgData name="Heidi Jean Harms" userId="S::heidiharms@churchofjesuschrist.org::b7342844-2534-4d4b-8710-0632f461dd8c" providerId="AD" clId="Web-{692C8E0C-5E21-EB6B-C2D2-C644FA6BCC5E}" dt="2023-07-26T16:23:48.478" v="13" actId="20577"/>
        <pc:sldMkLst>
          <pc:docMk/>
          <pc:sldMk cId="1652657516" sldId="820"/>
        </pc:sldMkLst>
        <pc:spChg chg="mod">
          <ac:chgData name="Heidi Jean Harms" userId="S::heidiharms@churchofjesuschrist.org::b7342844-2534-4d4b-8710-0632f461dd8c" providerId="AD" clId="Web-{692C8E0C-5E21-EB6B-C2D2-C644FA6BCC5E}" dt="2023-07-26T16:23:26.915" v="9" actId="20577"/>
          <ac:spMkLst>
            <pc:docMk/>
            <pc:sldMk cId="1652657516" sldId="820"/>
            <ac:spMk id="15" creationId="{BE770EFB-6961-C091-C1B2-C551AA033ED2}"/>
          </ac:spMkLst>
        </pc:spChg>
        <pc:spChg chg="mod">
          <ac:chgData name="Heidi Jean Harms" userId="S::heidiharms@churchofjesuschrist.org::b7342844-2534-4d4b-8710-0632f461dd8c" providerId="AD" clId="Web-{692C8E0C-5E21-EB6B-C2D2-C644FA6BCC5E}" dt="2023-07-26T16:23:48.478" v="13" actId="20577"/>
          <ac:spMkLst>
            <pc:docMk/>
            <pc:sldMk cId="1652657516" sldId="820"/>
            <ac:spMk id="16" creationId="{EFA081FD-9098-3A38-3995-211EBEBA672C}"/>
          </ac:spMkLst>
        </pc:spChg>
        <pc:spChg chg="mod">
          <ac:chgData name="Heidi Jean Harms" userId="S::heidiharms@churchofjesuschrist.org::b7342844-2534-4d4b-8710-0632f461dd8c" providerId="AD" clId="Web-{692C8E0C-5E21-EB6B-C2D2-C644FA6BCC5E}" dt="2023-07-26T16:23:38.665" v="11" actId="20577"/>
          <ac:spMkLst>
            <pc:docMk/>
            <pc:sldMk cId="1652657516" sldId="820"/>
            <ac:spMk id="17" creationId="{971D078D-E770-9DDC-AAA4-4C5521326957}"/>
          </ac:spMkLst>
        </pc:spChg>
      </pc:sldChg>
      <pc:sldChg chg="addCm">
        <pc:chgData name="Heidi Jean Harms" userId="S::heidiharms@churchofjesuschrist.org::b7342844-2534-4d4b-8710-0632f461dd8c" providerId="AD" clId="Web-{692C8E0C-5E21-EB6B-C2D2-C644FA6BCC5E}" dt="2023-07-26T16:34:45.237" v="14"/>
        <pc:sldMkLst>
          <pc:docMk/>
          <pc:sldMk cId="2768504817" sldId="831"/>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92C8E0C-5E21-EB6B-C2D2-C644FA6BCC5E}" dt="2023-07-26T16:34:45.237" v="14"/>
              <pc2:cmMkLst xmlns:pc2="http://schemas.microsoft.com/office/powerpoint/2019/9/main/command">
                <pc:docMk/>
                <pc:sldMk cId="2768504817" sldId="831"/>
                <pc2:cmMk id="{16F1ADD8-1499-453E-B5B4-BE47789FB7A6}"/>
              </pc2:cmMkLst>
            </pc226:cmChg>
          </p:ext>
        </pc:extLst>
      </pc:sldChg>
    </pc:docChg>
  </pc:docChgLst>
  <pc:docChgLst>
    <pc:chgData name="Lauren Conrad" userId="S::laursie14@churchofjesuschrist.org::43194ccc-e327-4119-97b4-bf00d6fecdd1" providerId="AD" clId="Web-{153F3C4F-4F3B-0DCA-BD11-DA443A8DE3EB}"/>
    <pc:docChg chg="mod modSld">
      <pc:chgData name="Lauren Conrad" userId="S::laursie14@churchofjesuschrist.org::43194ccc-e327-4119-97b4-bf00d6fecdd1" providerId="AD" clId="Web-{153F3C4F-4F3B-0DCA-BD11-DA443A8DE3EB}" dt="2023-08-03T00:35:52.932" v="40"/>
      <pc:docMkLst>
        <pc:docMk/>
      </pc:docMkLst>
      <pc:sldChg chg="addCm">
        <pc:chgData name="Lauren Conrad" userId="S::laursie14@churchofjesuschrist.org::43194ccc-e327-4119-97b4-bf00d6fecdd1" providerId="AD" clId="Web-{153F3C4F-4F3B-0DCA-BD11-DA443A8DE3EB}" dt="2023-08-02T23:52:10.844" v="1"/>
        <pc:sldMkLst>
          <pc:docMk/>
          <pc:sldMk cId="1444667122" sldId="782"/>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2T23:52:10.844" v="1"/>
              <pc2:cmMkLst xmlns:pc2="http://schemas.microsoft.com/office/powerpoint/2019/9/main/command">
                <pc:docMk/>
                <pc:sldMk cId="1444667122" sldId="782"/>
                <pc2:cmMk id="{6E71DF39-8A5A-4250-AFC9-4B3310203DD7}"/>
              </pc2:cmMkLst>
            </pc226:cmChg>
          </p:ext>
        </pc:extLst>
      </pc:sldChg>
      <pc:sldChg chg="addCm">
        <pc:chgData name="Lauren Conrad" userId="S::laursie14@churchofjesuschrist.org::43194ccc-e327-4119-97b4-bf00d6fecdd1" providerId="AD" clId="Web-{153F3C4F-4F3B-0DCA-BD11-DA443A8DE3EB}" dt="2023-08-02T23:59:41.309" v="4"/>
        <pc:sldMkLst>
          <pc:docMk/>
          <pc:sldMk cId="665768293" sldId="790"/>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2T23:59:41.309" v="4"/>
              <pc2:cmMkLst xmlns:pc2="http://schemas.microsoft.com/office/powerpoint/2019/9/main/command">
                <pc:docMk/>
                <pc:sldMk cId="665768293" sldId="790"/>
                <pc2:cmMk id="{9E5C040C-D67B-42CB-A927-ADA7C628791C}"/>
              </pc2:cmMkLst>
            </pc226:cmChg>
            <pc226:cmChg xmlns:pc226="http://schemas.microsoft.com/office/powerpoint/2022/06/main/command" chg="add">
              <pc226:chgData name="Lauren Conrad" userId="S::laursie14@churchofjesuschrist.org::43194ccc-e327-4119-97b4-bf00d6fecdd1" providerId="AD" clId="Web-{153F3C4F-4F3B-0DCA-BD11-DA443A8DE3EB}" dt="2023-08-02T23:53:25.939" v="2"/>
              <pc2:cmMkLst xmlns:pc2="http://schemas.microsoft.com/office/powerpoint/2019/9/main/command">
                <pc:docMk/>
                <pc:sldMk cId="665768293" sldId="790"/>
                <pc2:cmMk id="{029A59BD-CE54-49D7-8AE6-8A1E98D2839F}"/>
              </pc2:cmMkLst>
            </pc226:cmChg>
          </p:ext>
        </pc:extLst>
      </pc:sldChg>
      <pc:sldChg chg="addCm">
        <pc:chgData name="Lauren Conrad" userId="S::laursie14@churchofjesuschrist.org::43194ccc-e327-4119-97b4-bf00d6fecdd1" providerId="AD" clId="Web-{153F3C4F-4F3B-0DCA-BD11-DA443A8DE3EB}" dt="2023-08-03T00:08:43.613" v="11"/>
        <pc:sldMkLst>
          <pc:docMk/>
          <pc:sldMk cId="1019897426" sldId="793"/>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03:35.062" v="5"/>
              <pc2:cmMkLst xmlns:pc2="http://schemas.microsoft.com/office/powerpoint/2019/9/main/command">
                <pc:docMk/>
                <pc:sldMk cId="1019897426" sldId="793"/>
                <pc2:cmMk id="{E3187D3A-DAA3-4534-926A-6506DC9B3EF1}"/>
              </pc2:cmMkLst>
            </pc226:cmChg>
            <pc226:cmChg xmlns:pc226="http://schemas.microsoft.com/office/powerpoint/2022/06/main/command" chg="add">
              <pc226:chgData name="Lauren Conrad" userId="S::laursie14@churchofjesuschrist.org::43194ccc-e327-4119-97b4-bf00d6fecdd1" providerId="AD" clId="Web-{153F3C4F-4F3B-0DCA-BD11-DA443A8DE3EB}" dt="2023-08-02T23:56:06.660" v="3"/>
              <pc2:cmMkLst xmlns:pc2="http://schemas.microsoft.com/office/powerpoint/2019/9/main/command">
                <pc:docMk/>
                <pc:sldMk cId="1019897426" sldId="793"/>
                <pc2:cmMk id="{4F7D3F59-6931-47BF-9042-0C8A920924C2}"/>
              </pc2:cmMkLst>
            </pc226:cmChg>
            <pc226:cmChg xmlns:pc226="http://schemas.microsoft.com/office/powerpoint/2022/06/main/command" chg="add">
              <pc226:chgData name="Lauren Conrad" userId="S::laursie14@churchofjesuschrist.org::43194ccc-e327-4119-97b4-bf00d6fecdd1" providerId="AD" clId="Web-{153F3C4F-4F3B-0DCA-BD11-DA443A8DE3EB}" dt="2023-08-03T00:07:32.096" v="9"/>
              <pc2:cmMkLst xmlns:pc2="http://schemas.microsoft.com/office/powerpoint/2019/9/main/command">
                <pc:docMk/>
                <pc:sldMk cId="1019897426" sldId="793"/>
                <pc2:cmMk id="{ED23395A-5E56-4A5A-8CC4-7C02A57AAF7A}"/>
              </pc2:cmMkLst>
            </pc226:cmChg>
            <pc226:cmChg xmlns:pc226="http://schemas.microsoft.com/office/powerpoint/2022/06/main/command" chg="add">
              <pc226:chgData name="Lauren Conrad" userId="S::laursie14@churchofjesuschrist.org::43194ccc-e327-4119-97b4-bf00d6fecdd1" providerId="AD" clId="Web-{153F3C4F-4F3B-0DCA-BD11-DA443A8DE3EB}" dt="2023-08-03T00:08:43.613" v="11"/>
              <pc2:cmMkLst xmlns:pc2="http://schemas.microsoft.com/office/powerpoint/2019/9/main/command">
                <pc:docMk/>
                <pc:sldMk cId="1019897426" sldId="793"/>
                <pc2:cmMk id="{4D16BF64-35A6-4CC5-9D36-48DAA51F7B0B}"/>
              </pc2:cmMkLst>
            </pc226:cmChg>
            <pc226:cmChg xmlns:pc226="http://schemas.microsoft.com/office/powerpoint/2022/06/main/command" chg="add">
              <pc226:chgData name="Lauren Conrad" userId="S::laursie14@churchofjesuschrist.org::43194ccc-e327-4119-97b4-bf00d6fecdd1" providerId="AD" clId="Web-{153F3C4F-4F3B-0DCA-BD11-DA443A8DE3EB}" dt="2023-08-03T00:07:00.127" v="8"/>
              <pc2:cmMkLst xmlns:pc2="http://schemas.microsoft.com/office/powerpoint/2019/9/main/command">
                <pc:docMk/>
                <pc:sldMk cId="1019897426" sldId="793"/>
                <pc2:cmMk id="{366C0182-F5D1-419C-945D-3EA435664B19}"/>
              </pc2:cmMkLst>
            </pc226:cmChg>
            <pc226:cmChg xmlns:pc226="http://schemas.microsoft.com/office/powerpoint/2022/06/main/command" chg="add">
              <pc226:chgData name="Lauren Conrad" userId="S::laursie14@churchofjesuschrist.org::43194ccc-e327-4119-97b4-bf00d6fecdd1" providerId="AD" clId="Web-{153F3C4F-4F3B-0DCA-BD11-DA443A8DE3EB}" dt="2023-08-03T00:04:47.313" v="6"/>
              <pc2:cmMkLst xmlns:pc2="http://schemas.microsoft.com/office/powerpoint/2019/9/main/command">
                <pc:docMk/>
                <pc:sldMk cId="1019897426" sldId="793"/>
                <pc2:cmMk id="{14961392-DB7B-4871-A9E7-C488F7B3A894}"/>
              </pc2:cmMkLst>
            </pc226:cmChg>
            <pc226:cmChg xmlns:pc226="http://schemas.microsoft.com/office/powerpoint/2022/06/main/command" chg="add">
              <pc226:chgData name="Lauren Conrad" userId="S::laursie14@churchofjesuschrist.org::43194ccc-e327-4119-97b4-bf00d6fecdd1" providerId="AD" clId="Web-{153F3C4F-4F3B-0DCA-BD11-DA443A8DE3EB}" dt="2023-08-03T00:06:20.455" v="7"/>
              <pc2:cmMkLst xmlns:pc2="http://schemas.microsoft.com/office/powerpoint/2019/9/main/command">
                <pc:docMk/>
                <pc:sldMk cId="1019897426" sldId="793"/>
                <pc2:cmMk id="{76494493-F25A-410B-BEFA-F7743C981B79}"/>
              </pc2:cmMkLst>
            </pc226:cmChg>
            <pc226:cmChg xmlns:pc226="http://schemas.microsoft.com/office/powerpoint/2022/06/main/command" chg="add">
              <pc226:chgData name="Lauren Conrad" userId="S::laursie14@churchofjesuschrist.org::43194ccc-e327-4119-97b4-bf00d6fecdd1" providerId="AD" clId="Web-{153F3C4F-4F3B-0DCA-BD11-DA443A8DE3EB}" dt="2023-08-03T00:08:14.612" v="10"/>
              <pc2:cmMkLst xmlns:pc2="http://schemas.microsoft.com/office/powerpoint/2019/9/main/command">
                <pc:docMk/>
                <pc:sldMk cId="1019897426" sldId="793"/>
                <pc2:cmMk id="{C22CCCBC-415C-4F77-B53C-BBD2C30F3715}"/>
              </pc2:cmMkLst>
            </pc226:cmChg>
          </p:ext>
        </pc:extLst>
      </pc:sldChg>
      <pc:sldChg chg="modSp addCm">
        <pc:chgData name="Lauren Conrad" userId="S::laursie14@churchofjesuschrist.org::43194ccc-e327-4119-97b4-bf00d6fecdd1" providerId="AD" clId="Web-{153F3C4F-4F3B-0DCA-BD11-DA443A8DE3EB}" dt="2023-08-03T00:13:50.851" v="16"/>
        <pc:sldMkLst>
          <pc:docMk/>
          <pc:sldMk cId="4270646571" sldId="797"/>
        </pc:sldMkLst>
        <pc:spChg chg="mod">
          <ac:chgData name="Lauren Conrad" userId="S::laursie14@churchofjesuschrist.org::43194ccc-e327-4119-97b4-bf00d6fecdd1" providerId="AD" clId="Web-{153F3C4F-4F3B-0DCA-BD11-DA443A8DE3EB}" dt="2023-08-03T00:12:59.897" v="15" actId="14100"/>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13:50.851" v="16"/>
              <pc2:cmMkLst xmlns:pc2="http://schemas.microsoft.com/office/powerpoint/2019/9/main/command">
                <pc:docMk/>
                <pc:sldMk cId="4270646571" sldId="797"/>
                <pc2:cmMk id="{3F2E588A-4D41-432C-B87B-71B86327A7DD}"/>
              </pc2:cmMkLst>
            </pc226:cmChg>
            <pc226:cmChg xmlns:pc226="http://schemas.microsoft.com/office/powerpoint/2022/06/main/command" chg="add">
              <pc226:chgData name="Lauren Conrad" userId="S::laursie14@churchofjesuschrist.org::43194ccc-e327-4119-97b4-bf00d6fecdd1" providerId="AD" clId="Web-{153F3C4F-4F3B-0DCA-BD11-DA443A8DE3EB}" dt="2023-08-03T00:10:23.114" v="12"/>
              <pc2:cmMkLst xmlns:pc2="http://schemas.microsoft.com/office/powerpoint/2019/9/main/command">
                <pc:docMk/>
                <pc:sldMk cId="4270646571" sldId="797"/>
                <pc2:cmMk id="{543242B0-4028-42AD-86B1-B662E375E943}"/>
              </pc2:cmMkLst>
            </pc226:cmChg>
          </p:ext>
        </pc:extLst>
      </pc:sldChg>
      <pc:sldChg chg="modSp addCm delCm modCm">
        <pc:chgData name="Lauren Conrad" userId="S::laursie14@churchofjesuschrist.org::43194ccc-e327-4119-97b4-bf00d6fecdd1" providerId="AD" clId="Web-{153F3C4F-4F3B-0DCA-BD11-DA443A8DE3EB}" dt="2023-08-03T00:30:47.304" v="36" actId="20577"/>
        <pc:sldMkLst>
          <pc:docMk/>
          <pc:sldMk cId="3075817669" sldId="805"/>
        </pc:sldMkLst>
        <pc:spChg chg="mod">
          <ac:chgData name="Lauren Conrad" userId="S::laursie14@churchofjesuschrist.org::43194ccc-e327-4119-97b4-bf00d6fecdd1" providerId="AD" clId="Web-{153F3C4F-4F3B-0DCA-BD11-DA443A8DE3EB}" dt="2023-08-03T00:30:47.304" v="36" actId="20577"/>
          <ac:spMkLst>
            <pc:docMk/>
            <pc:sldMk cId="3075817669" sldId="805"/>
            <ac:spMk id="5" creationId="{85A8D91E-9E2B-3E60-BC05-352ECCCECD29}"/>
          </ac:spMkLst>
        </pc:spChg>
        <pc:extLst>
          <p:ext xmlns:p="http://schemas.openxmlformats.org/presentationml/2006/main" uri="{D6D511B9-2390-475A-947B-AFAB55BFBCF1}">
            <pc226:cmChg xmlns:pc226="http://schemas.microsoft.com/office/powerpoint/2022/06/main/command" chg="add mod">
              <pc226:chgData name="Lauren Conrad" userId="S::laursie14@churchofjesuschrist.org::43194ccc-e327-4119-97b4-bf00d6fecdd1" providerId="AD" clId="Web-{153F3C4F-4F3B-0DCA-BD11-DA443A8DE3EB}" dt="2023-08-03T00:30:44.679" v="35" actId="20577"/>
              <pc2:cmMkLst xmlns:pc2="http://schemas.microsoft.com/office/powerpoint/2019/9/main/command">
                <pc:docMk/>
                <pc:sldMk cId="3075817669" sldId="805"/>
                <pc2:cmMk id="{E233D10B-3D21-4A31-9C09-145F8AFF2180}"/>
              </pc2:cmMkLst>
            </pc226:cmChg>
            <pc226:cmChg xmlns:pc226="http://schemas.microsoft.com/office/powerpoint/2022/06/main/command" chg="add mod">
              <pc226:chgData name="Lauren Conrad" userId="S::laursie14@churchofjesuschrist.org::43194ccc-e327-4119-97b4-bf00d6fecdd1" providerId="AD" clId="Web-{153F3C4F-4F3B-0DCA-BD11-DA443A8DE3EB}" dt="2023-08-03T00:30:44.679" v="35" actId="20577"/>
              <pc2:cmMkLst xmlns:pc2="http://schemas.microsoft.com/office/powerpoint/2019/9/main/command">
                <pc:docMk/>
                <pc:sldMk cId="3075817669" sldId="805"/>
                <pc2:cmMk id="{9CB8C110-A29B-4451-B5AA-A213922158FA}"/>
              </pc2:cmMkLst>
            </pc226:cmChg>
            <pc226:cmChg xmlns:pc226="http://schemas.microsoft.com/office/powerpoint/2022/06/main/command" chg="add del">
              <pc226:chgData name="Lauren Conrad" userId="S::laursie14@churchofjesuschrist.org::43194ccc-e327-4119-97b4-bf00d6fecdd1" providerId="AD" clId="Web-{153F3C4F-4F3B-0DCA-BD11-DA443A8DE3EB}" dt="2023-08-03T00:22:39.326" v="21"/>
              <pc2:cmMkLst xmlns:pc2="http://schemas.microsoft.com/office/powerpoint/2019/9/main/command">
                <pc:docMk/>
                <pc:sldMk cId="3075817669" sldId="805"/>
                <pc2:cmMk id="{AFFA2584-EF2D-4808-947C-3A4A11604CA3}"/>
              </pc2:cmMkLst>
            </pc226:cmChg>
            <pc226:cmChg xmlns:pc226="http://schemas.microsoft.com/office/powerpoint/2022/06/main/command" chg="add">
              <pc226:chgData name="Lauren Conrad" userId="S::laursie14@churchofjesuschrist.org::43194ccc-e327-4119-97b4-bf00d6fecdd1" providerId="AD" clId="Web-{153F3C4F-4F3B-0DCA-BD11-DA443A8DE3EB}" dt="2023-08-03T00:20:41.059" v="19"/>
              <pc2:cmMkLst xmlns:pc2="http://schemas.microsoft.com/office/powerpoint/2019/9/main/command">
                <pc:docMk/>
                <pc:sldMk cId="3075817669" sldId="805"/>
                <pc2:cmMk id="{47D82991-887B-4118-8B31-EF4FC8115C68}"/>
              </pc2:cmMkLst>
            </pc226:cmChg>
            <pc226:cmChg xmlns:pc226="http://schemas.microsoft.com/office/powerpoint/2022/06/main/command" chg="add">
              <pc226:chgData name="Lauren Conrad" userId="S::laursie14@churchofjesuschrist.org::43194ccc-e327-4119-97b4-bf00d6fecdd1" providerId="AD" clId="Web-{153F3C4F-4F3B-0DCA-BD11-DA443A8DE3EB}" dt="2023-08-03T00:18:44.870" v="18"/>
              <pc2:cmMkLst xmlns:pc2="http://schemas.microsoft.com/office/powerpoint/2019/9/main/command">
                <pc:docMk/>
                <pc:sldMk cId="3075817669" sldId="805"/>
                <pc2:cmMk id="{749FD094-FADC-4EC6-8CB3-B80A24FC8952}"/>
              </pc2:cmMkLst>
            </pc226:cmChg>
            <pc226:cmChg xmlns:pc226="http://schemas.microsoft.com/office/powerpoint/2022/06/main/command" chg="add mod">
              <pc226:chgData name="Lauren Conrad" userId="S::laursie14@churchofjesuschrist.org::43194ccc-e327-4119-97b4-bf00d6fecdd1" providerId="AD" clId="Web-{153F3C4F-4F3B-0DCA-BD11-DA443A8DE3EB}" dt="2023-08-03T00:30:44.679" v="35" actId="20577"/>
              <pc2:cmMkLst xmlns:pc2="http://schemas.microsoft.com/office/powerpoint/2019/9/main/command">
                <pc:docMk/>
                <pc:sldMk cId="3075817669" sldId="805"/>
                <pc2:cmMk id="{FEDEC4B5-676B-41E4-B6AD-2F28ACA054F6}"/>
              </pc2:cmMkLst>
            </pc226:cmChg>
          </p:ext>
        </pc:extLst>
      </pc:sldChg>
      <pc:sldChg chg="addCm">
        <pc:chgData name="Lauren Conrad" userId="S::laursie14@churchofjesuschrist.org::43194ccc-e327-4119-97b4-bf00d6fecdd1" providerId="AD" clId="Web-{153F3C4F-4F3B-0DCA-BD11-DA443A8DE3EB}" dt="2023-08-03T00:35:52.932" v="40"/>
        <pc:sldMkLst>
          <pc:docMk/>
          <pc:sldMk cId="386647586" sldId="809"/>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35:52.932" v="40"/>
              <pc2:cmMkLst xmlns:pc2="http://schemas.microsoft.com/office/powerpoint/2019/9/main/command">
                <pc:docMk/>
                <pc:sldMk cId="386647586" sldId="809"/>
                <pc2:cmMk id="{74793868-F5CC-4411-B71D-B1924DE06CE3}"/>
              </pc2:cmMkLst>
            </pc226:cmChg>
          </p:ext>
        </pc:extLst>
      </pc:sldChg>
      <pc:sldChg chg="addCm">
        <pc:chgData name="Lauren Conrad" userId="S::laursie14@churchofjesuschrist.org::43194ccc-e327-4119-97b4-bf00d6fecdd1" providerId="AD" clId="Web-{153F3C4F-4F3B-0DCA-BD11-DA443A8DE3EB}" dt="2023-08-03T00:17:14.776" v="17"/>
        <pc:sldMkLst>
          <pc:docMk/>
          <pc:sldMk cId="1507861903" sldId="810"/>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17:14.776" v="17"/>
              <pc2:cmMkLst xmlns:pc2="http://schemas.microsoft.com/office/powerpoint/2019/9/main/command">
                <pc:docMk/>
                <pc:sldMk cId="1507861903" sldId="810"/>
                <pc2:cmMk id="{23323376-3DFF-4C73-A839-E3726D0CF6A3}"/>
              </pc2:cmMkLst>
            </pc226:cmChg>
          </p:ext>
        </pc:extLst>
      </pc:sldChg>
      <pc:sldChg chg="addCm">
        <pc:chgData name="Lauren Conrad" userId="S::laursie14@churchofjesuschrist.org::43194ccc-e327-4119-97b4-bf00d6fecdd1" providerId="AD" clId="Web-{153F3C4F-4F3B-0DCA-BD11-DA443A8DE3EB}" dt="2023-08-03T00:32:17.289" v="37"/>
        <pc:sldMkLst>
          <pc:docMk/>
          <pc:sldMk cId="1652657516" sldId="820"/>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32:17.289" v="37"/>
              <pc2:cmMkLst xmlns:pc2="http://schemas.microsoft.com/office/powerpoint/2019/9/main/command">
                <pc:docMk/>
                <pc:sldMk cId="1652657516" sldId="820"/>
                <pc2:cmMk id="{9FE77092-8B54-43F0-A43A-1F5AF16DFE9D}"/>
              </pc2:cmMkLst>
            </pc226:cmChg>
          </p:ext>
        </pc:extLst>
      </pc:sldChg>
      <pc:sldChg chg="addCm">
        <pc:chgData name="Lauren Conrad" userId="S::laursie14@churchofjesuschrist.org::43194ccc-e327-4119-97b4-bf00d6fecdd1" providerId="AD" clId="Web-{153F3C4F-4F3B-0DCA-BD11-DA443A8DE3EB}" dt="2023-08-03T00:34:20.212" v="39"/>
        <pc:sldMkLst>
          <pc:docMk/>
          <pc:sldMk cId="1753766256" sldId="821"/>
        </pc:sldMkLst>
        <pc:extLst>
          <p:ext xmlns:p="http://schemas.openxmlformats.org/presentationml/2006/main" uri="{D6D511B9-2390-475A-947B-AFAB55BFBCF1}">
            <pc226:cmChg xmlns:pc226="http://schemas.microsoft.com/office/powerpoint/2022/06/main/command" chg="add">
              <pc226:chgData name="Lauren Conrad" userId="S::laursie14@churchofjesuschrist.org::43194ccc-e327-4119-97b4-bf00d6fecdd1" providerId="AD" clId="Web-{153F3C4F-4F3B-0DCA-BD11-DA443A8DE3EB}" dt="2023-08-03T00:32:59.383" v="38"/>
              <pc2:cmMkLst xmlns:pc2="http://schemas.microsoft.com/office/powerpoint/2019/9/main/command">
                <pc:docMk/>
                <pc:sldMk cId="1753766256" sldId="821"/>
                <pc2:cmMk id="{4A0CC95F-B7DD-48DD-B016-CAA56DE3F92B}"/>
              </pc2:cmMkLst>
            </pc226:cmChg>
            <pc226:cmChg xmlns:pc226="http://schemas.microsoft.com/office/powerpoint/2022/06/main/command" chg="add">
              <pc226:chgData name="Lauren Conrad" userId="S::laursie14@churchofjesuschrist.org::43194ccc-e327-4119-97b4-bf00d6fecdd1" providerId="AD" clId="Web-{153F3C4F-4F3B-0DCA-BD11-DA443A8DE3EB}" dt="2023-08-03T00:34:20.212" v="39"/>
              <pc2:cmMkLst xmlns:pc2="http://schemas.microsoft.com/office/powerpoint/2019/9/main/command">
                <pc:docMk/>
                <pc:sldMk cId="1753766256" sldId="821"/>
                <pc2:cmMk id="{75624591-6BE1-4B9C-A721-753AE8AD0A65}"/>
              </pc2:cmMkLst>
            </pc226:cmChg>
          </p:ext>
        </pc:extLst>
      </pc:sldChg>
    </pc:docChg>
  </pc:docChgLst>
  <pc:docChgLst>
    <pc:chgData name="Kamile Walker" userId="S::kamiwalker@churchofjesuschrist.org::a6eb77e7-33bd-4c57-a3cf-538d131ebd75" providerId="AD" clId="Web-{CEC34DA7-FD54-08B6-1E36-F708B707D894}"/>
    <pc:docChg chg="modSld">
      <pc:chgData name="Kamile Walker" userId="S::kamiwalker@churchofjesuschrist.org::a6eb77e7-33bd-4c57-a3cf-538d131ebd75" providerId="AD" clId="Web-{CEC34DA7-FD54-08B6-1E36-F708B707D894}" dt="2023-08-07T19:17:01.749" v="22"/>
      <pc:docMkLst>
        <pc:docMk/>
      </pc:docMkLst>
      <pc:sldChg chg="modSp modCm">
        <pc:chgData name="Kamile Walker" userId="S::kamiwalker@churchofjesuschrist.org::a6eb77e7-33bd-4c57-a3cf-538d131ebd75" providerId="AD" clId="Web-{CEC34DA7-FD54-08B6-1E36-F708B707D894}" dt="2023-08-07T18:18:05.603" v="10" actId="20577"/>
        <pc:sldMkLst>
          <pc:docMk/>
          <pc:sldMk cId="3075817669" sldId="805"/>
        </pc:sldMkLst>
        <pc:spChg chg="mod">
          <ac:chgData name="Kamile Walker" userId="S::kamiwalker@churchofjesuschrist.org::a6eb77e7-33bd-4c57-a3cf-538d131ebd75" providerId="AD" clId="Web-{CEC34DA7-FD54-08B6-1E36-F708B707D894}" dt="2023-08-07T18:18:05.603" v="10" actId="20577"/>
          <ac:spMkLst>
            <pc:docMk/>
            <pc:sldMk cId="3075817669" sldId="805"/>
            <ac:spMk id="5" creationId="{85A8D91E-9E2B-3E60-BC05-352ECCCECD29}"/>
          </ac:spMkLst>
        </pc:spChg>
        <pc:spChg chg="mod">
          <ac:chgData name="Kamile Walker" userId="S::kamiwalker@churchofjesuschrist.org::a6eb77e7-33bd-4c57-a3cf-538d131ebd75" providerId="AD" clId="Web-{CEC34DA7-FD54-08B6-1E36-F708B707D894}" dt="2023-08-07T18:17:03.538" v="4" actId="20577"/>
          <ac:spMkLst>
            <pc:docMk/>
            <pc:sldMk cId="3075817669" sldId="805"/>
            <ac:spMk id="16" creationId="{B17D727E-1028-802B-8045-03F792C5CB36}"/>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CEC34DA7-FD54-08B6-1E36-F708B707D894}" dt="2023-08-07T18:17:59.665" v="9" actId="20577"/>
              <pc2:cmMkLst xmlns:pc2="http://schemas.microsoft.com/office/powerpoint/2019/9/main/command">
                <pc:docMk/>
                <pc:sldMk cId="3075817669" sldId="805"/>
                <pc2:cmMk id="{E233D10B-3D21-4A31-9C09-145F8AFF2180}"/>
              </pc2:cmMkLst>
            </pc226:cmChg>
            <pc226:cmChg xmlns:pc226="http://schemas.microsoft.com/office/powerpoint/2022/06/main/command" chg="mod">
              <pc226:chgData name="Kamile Walker" userId="S::kamiwalker@churchofjesuschrist.org::a6eb77e7-33bd-4c57-a3cf-538d131ebd75" providerId="AD" clId="Web-{CEC34DA7-FD54-08B6-1E36-F708B707D894}" dt="2023-08-07T18:17:59.665" v="9" actId="20577"/>
              <pc2:cmMkLst xmlns:pc2="http://schemas.microsoft.com/office/powerpoint/2019/9/main/command">
                <pc:docMk/>
                <pc:sldMk cId="3075817669" sldId="805"/>
                <pc2:cmMk id="{9CB8C110-A29B-4451-B5AA-A213922158FA}"/>
              </pc2:cmMkLst>
            </pc226:cmChg>
            <pc226:cmChg xmlns:pc226="http://schemas.microsoft.com/office/powerpoint/2022/06/main/command" chg="mod">
              <pc226:chgData name="Kamile Walker" userId="S::kamiwalker@churchofjesuschrist.org::a6eb77e7-33bd-4c57-a3cf-538d131ebd75" providerId="AD" clId="Web-{CEC34DA7-FD54-08B6-1E36-F708B707D894}" dt="2023-08-07T18:16:53.631" v="3" actId="20577"/>
              <pc2:cmMkLst xmlns:pc2="http://schemas.microsoft.com/office/powerpoint/2019/9/main/command">
                <pc:docMk/>
                <pc:sldMk cId="3075817669" sldId="805"/>
                <pc2:cmMk id="{47D82991-887B-4118-8B31-EF4FC8115C68}"/>
              </pc2:cmMkLst>
            </pc226:cmChg>
            <pc226:cmChg xmlns:pc226="http://schemas.microsoft.com/office/powerpoint/2022/06/main/command" chg="mod">
              <pc226:chgData name="Kamile Walker" userId="S::kamiwalker@churchofjesuschrist.org::a6eb77e7-33bd-4c57-a3cf-538d131ebd75" providerId="AD" clId="Web-{CEC34DA7-FD54-08B6-1E36-F708B707D894}" dt="2023-08-07T18:17:59.665" v="9" actId="20577"/>
              <pc2:cmMkLst xmlns:pc2="http://schemas.microsoft.com/office/powerpoint/2019/9/main/command">
                <pc:docMk/>
                <pc:sldMk cId="3075817669" sldId="805"/>
                <pc2:cmMk id="{FEDEC4B5-676B-41E4-B6AD-2F28ACA054F6}"/>
              </pc2:cmMkLst>
            </pc226:cmChg>
          </p:ext>
        </pc:extLst>
      </pc:sldChg>
      <pc:sldChg chg="modSp modCm">
        <pc:chgData name="Kamile Walker" userId="S::kamiwalker@churchofjesuschrist.org::a6eb77e7-33bd-4c57-a3cf-538d131ebd75" providerId="AD" clId="Web-{CEC34DA7-FD54-08B6-1E36-F708B707D894}" dt="2023-08-07T19:17:01.749" v="22"/>
        <pc:sldMkLst>
          <pc:docMk/>
          <pc:sldMk cId="386647586" sldId="809"/>
        </pc:sldMkLst>
        <pc:spChg chg="mod">
          <ac:chgData name="Kamile Walker" userId="S::kamiwalker@churchofjesuschrist.org::a6eb77e7-33bd-4c57-a3cf-538d131ebd75" providerId="AD" clId="Web-{CEC34DA7-FD54-08B6-1E36-F708B707D894}" dt="2023-08-07T19:16:45.686" v="21" actId="20577"/>
          <ac:spMkLst>
            <pc:docMk/>
            <pc:sldMk cId="386647586" sldId="809"/>
            <ac:spMk id="3" creationId="{6A57A1E5-BB56-3949-BF3A-C64C36CAB647}"/>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CEC34DA7-FD54-08B6-1E36-F708B707D894}" dt="2023-08-07T19:17:01.749" v="22"/>
              <pc2:cmMkLst xmlns:pc2="http://schemas.microsoft.com/office/powerpoint/2019/9/main/command">
                <pc:docMk/>
                <pc:sldMk cId="386647586" sldId="809"/>
                <pc2:cmMk id="{74793868-F5CC-4411-B71D-B1924DE06CE3}"/>
              </pc2:cmMkLst>
              <pc226:cmRplyChg chg="add">
                <pc226:chgData name="Kamile Walker" userId="S::kamiwalker@churchofjesuschrist.org::a6eb77e7-33bd-4c57-a3cf-538d131ebd75" providerId="AD" clId="Web-{CEC34DA7-FD54-08B6-1E36-F708B707D894}" dt="2023-08-07T19:17:01.749" v="22"/>
                <pc2:cmRplyMkLst xmlns:pc2="http://schemas.microsoft.com/office/powerpoint/2019/9/main/command">
                  <pc:docMk/>
                  <pc:sldMk cId="386647586" sldId="809"/>
                  <pc2:cmMk id="{74793868-F5CC-4411-B71D-B1924DE06CE3}"/>
                  <pc2:cmRplyMk id="{6D2D4521-9044-4874-A2BA-CACDB60496CF}"/>
                </pc2:cmRplyMkLst>
              </pc226:cmRplyChg>
            </pc226:cmChg>
          </p:ext>
        </pc:extLst>
      </pc:sldChg>
      <pc:sldChg chg="modSp modCm">
        <pc:chgData name="Kamile Walker" userId="S::kamiwalker@churchofjesuschrist.org::a6eb77e7-33bd-4c57-a3cf-538d131ebd75" providerId="AD" clId="Web-{CEC34DA7-FD54-08B6-1E36-F708B707D894}" dt="2023-08-07T18:18:58.871" v="16" actId="20577"/>
        <pc:sldMkLst>
          <pc:docMk/>
          <pc:sldMk cId="1753766256" sldId="821"/>
        </pc:sldMkLst>
        <pc:spChg chg="mod">
          <ac:chgData name="Kamile Walker" userId="S::kamiwalker@churchofjesuschrist.org::a6eb77e7-33bd-4c57-a3cf-538d131ebd75" providerId="AD" clId="Web-{CEC34DA7-FD54-08B6-1E36-F708B707D894}" dt="2023-08-07T18:18:30.870" v="13" actId="20577"/>
          <ac:spMkLst>
            <pc:docMk/>
            <pc:sldMk cId="1753766256" sldId="821"/>
            <ac:spMk id="3" creationId="{A89DF289-C5D8-A740-07DB-8FADEEE5E2D7}"/>
          </ac:spMkLst>
        </pc:spChg>
        <pc:spChg chg="mod">
          <ac:chgData name="Kamile Walker" userId="S::kamiwalker@churchofjesuschrist.org::a6eb77e7-33bd-4c57-a3cf-538d131ebd75" providerId="AD" clId="Web-{CEC34DA7-FD54-08B6-1E36-F708B707D894}" dt="2023-08-07T18:18:58.871" v="16" actId="20577"/>
          <ac:spMkLst>
            <pc:docMk/>
            <pc:sldMk cId="1753766256" sldId="821"/>
            <ac:spMk id="9" creationId="{4AD386F1-F22E-CF4B-4EF8-839D5722921A}"/>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CEC34DA7-FD54-08B6-1E36-F708B707D894}" dt="2023-08-07T18:18:27.604" v="12" actId="20577"/>
              <pc2:cmMkLst xmlns:pc2="http://schemas.microsoft.com/office/powerpoint/2019/9/main/command">
                <pc:docMk/>
                <pc:sldMk cId="1753766256" sldId="821"/>
                <pc2:cmMk id="{4A0CC95F-B7DD-48DD-B016-CAA56DE3F92B}"/>
              </pc2:cmMkLst>
            </pc226:cmChg>
            <pc226:cmChg xmlns:pc226="http://schemas.microsoft.com/office/powerpoint/2022/06/main/command" chg="mod">
              <pc226:chgData name="Kamile Walker" userId="S::kamiwalker@churchofjesuschrist.org::a6eb77e7-33bd-4c57-a3cf-538d131ebd75" providerId="AD" clId="Web-{CEC34DA7-FD54-08B6-1E36-F708B707D894}" dt="2023-08-07T18:18:44.495" v="14" actId="20577"/>
              <pc2:cmMkLst xmlns:pc2="http://schemas.microsoft.com/office/powerpoint/2019/9/main/command">
                <pc:docMk/>
                <pc:sldMk cId="1753766256" sldId="821"/>
                <pc2:cmMk id="{75624591-6BE1-4B9C-A721-753AE8AD0A65}"/>
              </pc2:cmMkLst>
            </pc226:cmChg>
          </p:ext>
        </pc:extLst>
      </pc:sldChg>
    </pc:docChg>
  </pc:docChgLst>
  <pc:docChgLst>
    <pc:chgData name="Kamile Walker" userId="S::kamiwalker@churchofjesuschrist.org::a6eb77e7-33bd-4c57-a3cf-538d131ebd75" providerId="AD" clId="Web-{5B09F26B-8FFB-9E95-547C-E5F27AABCC3B}"/>
    <pc:docChg chg="modSld">
      <pc:chgData name="Kamile Walker" userId="S::kamiwalker@churchofjesuschrist.org::a6eb77e7-33bd-4c57-a3cf-538d131ebd75" providerId="AD" clId="Web-{5B09F26B-8FFB-9E95-547C-E5F27AABCC3B}" dt="2023-07-26T17:06:10.619" v="118"/>
      <pc:docMkLst>
        <pc:docMk/>
      </pc:docMkLst>
      <pc:sldChg chg="delSp">
        <pc:chgData name="Kamile Walker" userId="S::kamiwalker@churchofjesuschrist.org::a6eb77e7-33bd-4c57-a3cf-538d131ebd75" providerId="AD" clId="Web-{5B09F26B-8FFB-9E95-547C-E5F27AABCC3B}" dt="2023-07-26T17:04:13.054" v="109"/>
        <pc:sldMkLst>
          <pc:docMk/>
          <pc:sldMk cId="2180367955" sldId="660"/>
        </pc:sldMkLst>
        <pc:spChg chg="del">
          <ac:chgData name="Kamile Walker" userId="S::kamiwalker@churchofjesuschrist.org::a6eb77e7-33bd-4c57-a3cf-538d131ebd75" providerId="AD" clId="Web-{5B09F26B-8FFB-9E95-547C-E5F27AABCC3B}" dt="2023-07-26T17:04:13.054" v="109"/>
          <ac:spMkLst>
            <pc:docMk/>
            <pc:sldMk cId="2180367955" sldId="660"/>
            <ac:spMk id="5" creationId="{347B6CD6-970A-C946-9E47-CEEC7B914FA8}"/>
          </ac:spMkLst>
        </pc:spChg>
      </pc:sldChg>
      <pc:sldChg chg="modSp">
        <pc:chgData name="Kamile Walker" userId="S::kamiwalker@churchofjesuschrist.org::a6eb77e7-33bd-4c57-a3cf-538d131ebd75" providerId="AD" clId="Web-{5B09F26B-8FFB-9E95-547C-E5F27AABCC3B}" dt="2023-07-25T16:50:32.454" v="66" actId="1076"/>
        <pc:sldMkLst>
          <pc:docMk/>
          <pc:sldMk cId="3072156505" sldId="768"/>
        </pc:sldMkLst>
        <pc:spChg chg="mod">
          <ac:chgData name="Kamile Walker" userId="S::kamiwalker@churchofjesuschrist.org::a6eb77e7-33bd-4c57-a3cf-538d131ebd75" providerId="AD" clId="Web-{5B09F26B-8FFB-9E95-547C-E5F27AABCC3B}" dt="2023-07-25T16:50:32.454" v="66" actId="1076"/>
          <ac:spMkLst>
            <pc:docMk/>
            <pc:sldMk cId="3072156505" sldId="768"/>
            <ac:spMk id="6" creationId="{EC4FCF43-E4C8-D64C-86C6-C8705D0B98CC}"/>
          </ac:spMkLst>
        </pc:spChg>
      </pc:sldChg>
      <pc:sldChg chg="modSp">
        <pc:chgData name="Kamile Walker" userId="S::kamiwalker@churchofjesuschrist.org::a6eb77e7-33bd-4c57-a3cf-538d131ebd75" providerId="AD" clId="Web-{5B09F26B-8FFB-9E95-547C-E5F27AABCC3B}" dt="2023-07-25T19:03:18.661" v="108" actId="14100"/>
        <pc:sldMkLst>
          <pc:docMk/>
          <pc:sldMk cId="29013491" sldId="769"/>
        </pc:sldMkLst>
        <pc:spChg chg="mod">
          <ac:chgData name="Kamile Walker" userId="S::kamiwalker@churchofjesuschrist.org::a6eb77e7-33bd-4c57-a3cf-538d131ebd75" providerId="AD" clId="Web-{5B09F26B-8FFB-9E95-547C-E5F27AABCC3B}" dt="2023-07-25T19:03:13.630" v="107" actId="14100"/>
          <ac:spMkLst>
            <pc:docMk/>
            <pc:sldMk cId="29013491" sldId="769"/>
            <ac:spMk id="3" creationId="{D8403070-DEEB-8143-B9ED-F146907EEFC3}"/>
          </ac:spMkLst>
        </pc:spChg>
        <pc:spChg chg="mod">
          <ac:chgData name="Kamile Walker" userId="S::kamiwalker@churchofjesuschrist.org::a6eb77e7-33bd-4c57-a3cf-538d131ebd75" providerId="AD" clId="Web-{5B09F26B-8FFB-9E95-547C-E5F27AABCC3B}" dt="2023-07-25T19:03:18.661" v="108" actId="14100"/>
          <ac:spMkLst>
            <pc:docMk/>
            <pc:sldMk cId="29013491" sldId="769"/>
            <ac:spMk id="5" creationId="{CD13F077-4AC6-394F-B59D-28A4A9055A36}"/>
          </ac:spMkLst>
        </pc:spChg>
        <pc:spChg chg="mod">
          <ac:chgData name="Kamile Walker" userId="S::kamiwalker@churchofjesuschrist.org::a6eb77e7-33bd-4c57-a3cf-538d131ebd75" providerId="AD" clId="Web-{5B09F26B-8FFB-9E95-547C-E5F27AABCC3B}" dt="2023-07-25T19:03:01.270" v="103" actId="20577"/>
          <ac:spMkLst>
            <pc:docMk/>
            <pc:sldMk cId="29013491" sldId="769"/>
            <ac:spMk id="10" creationId="{1C0FA216-8D3D-3047-8BAE-DA379674949C}"/>
          </ac:spMkLst>
        </pc:spChg>
      </pc:sldChg>
      <pc:sldChg chg="modSp">
        <pc:chgData name="Kamile Walker" userId="S::kamiwalker@churchofjesuschrist.org::a6eb77e7-33bd-4c57-a3cf-538d131ebd75" providerId="AD" clId="Web-{5B09F26B-8FFB-9E95-547C-E5F27AABCC3B}" dt="2023-07-25T17:25:05.299" v="71" actId="20577"/>
        <pc:sldMkLst>
          <pc:docMk/>
          <pc:sldMk cId="4270646571" sldId="797"/>
        </pc:sldMkLst>
        <pc:spChg chg="mod">
          <ac:chgData name="Kamile Walker" userId="S::kamiwalker@churchofjesuschrist.org::a6eb77e7-33bd-4c57-a3cf-538d131ebd75" providerId="AD" clId="Web-{5B09F26B-8FFB-9E95-547C-E5F27AABCC3B}" dt="2023-07-25T17:25:05.299" v="71" actId="20577"/>
          <ac:spMkLst>
            <pc:docMk/>
            <pc:sldMk cId="4270646571" sldId="797"/>
            <ac:spMk id="5" creationId="{7615F437-AACA-9175-406B-64C66D810847}"/>
          </ac:spMkLst>
        </pc:spChg>
        <pc:spChg chg="mod">
          <ac:chgData name="Kamile Walker" userId="S::kamiwalker@churchofjesuschrist.org::a6eb77e7-33bd-4c57-a3cf-538d131ebd75" providerId="AD" clId="Web-{5B09F26B-8FFB-9E95-547C-E5F27AABCC3B}" dt="2023-07-25T15:45:50.525" v="2" actId="1076"/>
          <ac:spMkLst>
            <pc:docMk/>
            <pc:sldMk cId="4270646571" sldId="797"/>
            <ac:spMk id="9" creationId="{BB15C4F1-E9E5-652F-3489-C6E81DA9DC88}"/>
          </ac:spMkLst>
        </pc:spChg>
      </pc:sldChg>
      <pc:sldChg chg="modSp">
        <pc:chgData name="Kamile Walker" userId="S::kamiwalker@churchofjesuschrist.org::a6eb77e7-33bd-4c57-a3cf-538d131ebd75" providerId="AD" clId="Web-{5B09F26B-8FFB-9E95-547C-E5F27AABCC3B}" dt="2023-07-25T17:33:49.084" v="89" actId="20577"/>
        <pc:sldMkLst>
          <pc:docMk/>
          <pc:sldMk cId="3075817669" sldId="805"/>
        </pc:sldMkLst>
        <pc:spChg chg="mod">
          <ac:chgData name="Kamile Walker" userId="S::kamiwalker@churchofjesuschrist.org::a6eb77e7-33bd-4c57-a3cf-538d131ebd75" providerId="AD" clId="Web-{5B09F26B-8FFB-9E95-547C-E5F27AABCC3B}" dt="2023-07-25T17:33:49.084" v="89" actId="20577"/>
          <ac:spMkLst>
            <pc:docMk/>
            <pc:sldMk cId="3075817669" sldId="805"/>
            <ac:spMk id="5" creationId="{85A8D91E-9E2B-3E60-BC05-352ECCCECD29}"/>
          </ac:spMkLst>
        </pc:spChg>
        <pc:spChg chg="mod">
          <ac:chgData name="Kamile Walker" userId="S::kamiwalker@churchofjesuschrist.org::a6eb77e7-33bd-4c57-a3cf-538d131ebd75" providerId="AD" clId="Web-{5B09F26B-8FFB-9E95-547C-E5F27AABCC3B}" dt="2023-07-25T15:50:24.376" v="5" actId="14100"/>
          <ac:spMkLst>
            <pc:docMk/>
            <pc:sldMk cId="3075817669" sldId="805"/>
            <ac:spMk id="17" creationId="{5550BE1B-AFCC-B7D5-9AA6-23335220E768}"/>
          </ac:spMkLst>
        </pc:spChg>
        <pc:spChg chg="mod">
          <ac:chgData name="Kamile Walker" userId="S::kamiwalker@churchofjesuschrist.org::a6eb77e7-33bd-4c57-a3cf-538d131ebd75" providerId="AD" clId="Web-{5B09F26B-8FFB-9E95-547C-E5F27AABCC3B}" dt="2023-07-25T16:47:23.103" v="44" actId="14100"/>
          <ac:spMkLst>
            <pc:docMk/>
            <pc:sldMk cId="3075817669" sldId="805"/>
            <ac:spMk id="34" creationId="{416DF48E-CA52-29A7-3796-A2B845252115}"/>
          </ac:spMkLst>
        </pc:spChg>
        <pc:picChg chg="mod">
          <ac:chgData name="Kamile Walker" userId="S::kamiwalker@churchofjesuschrist.org::a6eb77e7-33bd-4c57-a3cf-538d131ebd75" providerId="AD" clId="Web-{5B09F26B-8FFB-9E95-547C-E5F27AABCC3B}" dt="2023-07-25T15:50:33.360" v="6" actId="1076"/>
          <ac:picMkLst>
            <pc:docMk/>
            <pc:sldMk cId="3075817669" sldId="805"/>
            <ac:picMk id="14" creationId="{50D12EBC-6B69-6CDD-13CD-B93740B79817}"/>
          </ac:picMkLst>
        </pc:picChg>
      </pc:sldChg>
      <pc:sldChg chg="modSp">
        <pc:chgData name="Kamile Walker" userId="S::kamiwalker@churchofjesuschrist.org::a6eb77e7-33bd-4c57-a3cf-538d131ebd75" providerId="AD" clId="Web-{5B09F26B-8FFB-9E95-547C-E5F27AABCC3B}" dt="2023-07-25T16:49:14.326" v="60" actId="20577"/>
        <pc:sldMkLst>
          <pc:docMk/>
          <pc:sldMk cId="3056659758" sldId="817"/>
        </pc:sldMkLst>
        <pc:spChg chg="mod">
          <ac:chgData name="Kamile Walker" userId="S::kamiwalker@churchofjesuschrist.org::a6eb77e7-33bd-4c57-a3cf-538d131ebd75" providerId="AD" clId="Web-{5B09F26B-8FFB-9E95-547C-E5F27AABCC3B}" dt="2023-07-25T16:49:14.326" v="60" actId="20577"/>
          <ac:spMkLst>
            <pc:docMk/>
            <pc:sldMk cId="3056659758" sldId="817"/>
            <ac:spMk id="8" creationId="{5864B0E4-E93F-F74B-7825-C74E2D53DD66}"/>
          </ac:spMkLst>
        </pc:spChg>
      </pc:sldChg>
      <pc:sldChg chg="modSp">
        <pc:chgData name="Kamile Walker" userId="S::kamiwalker@churchofjesuschrist.org::a6eb77e7-33bd-4c57-a3cf-538d131ebd75" providerId="AD" clId="Web-{5B09F26B-8FFB-9E95-547C-E5F27AABCC3B}" dt="2023-07-25T16:47:05.525" v="40" actId="1076"/>
        <pc:sldMkLst>
          <pc:docMk/>
          <pc:sldMk cId="3569784783" sldId="819"/>
        </pc:sldMkLst>
        <pc:spChg chg="mod">
          <ac:chgData name="Kamile Walker" userId="S::kamiwalker@churchofjesuschrist.org::a6eb77e7-33bd-4c57-a3cf-538d131ebd75" providerId="AD" clId="Web-{5B09F26B-8FFB-9E95-547C-E5F27AABCC3B}" dt="2023-07-25T16:46:58.899" v="39" actId="1076"/>
          <ac:spMkLst>
            <pc:docMk/>
            <pc:sldMk cId="3569784783" sldId="819"/>
            <ac:spMk id="27" creationId="{061D94E2-836E-EE4F-AC2E-903DE5C55B97}"/>
          </ac:spMkLst>
        </pc:spChg>
        <pc:spChg chg="mod">
          <ac:chgData name="Kamile Walker" userId="S::kamiwalker@churchofjesuschrist.org::a6eb77e7-33bd-4c57-a3cf-538d131ebd75" providerId="AD" clId="Web-{5B09F26B-8FFB-9E95-547C-E5F27AABCC3B}" dt="2023-07-25T16:46:48.477" v="36" actId="1076"/>
          <ac:spMkLst>
            <pc:docMk/>
            <pc:sldMk cId="3569784783" sldId="819"/>
            <ac:spMk id="28" creationId="{2DF252B8-74CF-F44D-9C66-D414C0B370E9}"/>
          </ac:spMkLst>
        </pc:spChg>
        <pc:spChg chg="mod">
          <ac:chgData name="Kamile Walker" userId="S::kamiwalker@churchofjesuschrist.org::a6eb77e7-33bd-4c57-a3cf-538d131ebd75" providerId="AD" clId="Web-{5B09F26B-8FFB-9E95-547C-E5F27AABCC3B}" dt="2023-07-25T16:46:53.712" v="38" actId="1076"/>
          <ac:spMkLst>
            <pc:docMk/>
            <pc:sldMk cId="3569784783" sldId="819"/>
            <ac:spMk id="29" creationId="{CED74288-F993-2A4C-A717-1C6A7F535098}"/>
          </ac:spMkLst>
        </pc:spChg>
        <pc:picChg chg="mod">
          <ac:chgData name="Kamile Walker" userId="S::kamiwalker@churchofjesuschrist.org::a6eb77e7-33bd-4c57-a3cf-538d131ebd75" providerId="AD" clId="Web-{5B09F26B-8FFB-9E95-547C-E5F27AABCC3B}" dt="2023-07-25T16:47:05.525" v="40" actId="1076"/>
          <ac:picMkLst>
            <pc:docMk/>
            <pc:sldMk cId="3569784783" sldId="819"/>
            <ac:picMk id="15" creationId="{4751089D-F608-11C4-D7FE-8747798B7545}"/>
          </ac:picMkLst>
        </pc:picChg>
        <pc:picChg chg="mod">
          <ac:chgData name="Kamile Walker" userId="S::kamiwalker@churchofjesuschrist.org::a6eb77e7-33bd-4c57-a3cf-538d131ebd75" providerId="AD" clId="Web-{5B09F26B-8FFB-9E95-547C-E5F27AABCC3B}" dt="2023-07-25T16:46:48.477" v="37" actId="1076"/>
          <ac:picMkLst>
            <pc:docMk/>
            <pc:sldMk cId="3569784783" sldId="819"/>
            <ac:picMk id="17" creationId="{75FD2F3B-D7F7-621E-F062-E1CBD8B19254}"/>
          </ac:picMkLst>
        </pc:picChg>
        <pc:picChg chg="mod">
          <ac:chgData name="Kamile Walker" userId="S::kamiwalker@churchofjesuschrist.org::a6eb77e7-33bd-4c57-a3cf-538d131ebd75" providerId="AD" clId="Web-{5B09F26B-8FFB-9E95-547C-E5F27AABCC3B}" dt="2023-07-25T15:53:48.771" v="23" actId="1076"/>
          <ac:picMkLst>
            <pc:docMk/>
            <pc:sldMk cId="3569784783" sldId="819"/>
            <ac:picMk id="21" creationId="{35A9E54B-D6E0-9249-69DD-E5E96D4812DE}"/>
          </ac:picMkLst>
        </pc:picChg>
      </pc:sldChg>
      <pc:sldChg chg="modSp">
        <pc:chgData name="Kamile Walker" userId="S::kamiwalker@churchofjesuschrist.org::a6eb77e7-33bd-4c57-a3cf-538d131ebd75" providerId="AD" clId="Web-{5B09F26B-8FFB-9E95-547C-E5F27AABCC3B}" dt="2023-07-25T18:41:48.900" v="99" actId="1076"/>
        <pc:sldMkLst>
          <pc:docMk/>
          <pc:sldMk cId="1753766256" sldId="821"/>
        </pc:sldMkLst>
        <pc:spChg chg="mod">
          <ac:chgData name="Kamile Walker" userId="S::kamiwalker@churchofjesuschrist.org::a6eb77e7-33bd-4c57-a3cf-538d131ebd75" providerId="AD" clId="Web-{5B09F26B-8FFB-9E95-547C-E5F27AABCC3B}" dt="2023-07-25T18:41:48.900" v="99" actId="1076"/>
          <ac:spMkLst>
            <pc:docMk/>
            <pc:sldMk cId="1753766256" sldId="821"/>
            <ac:spMk id="9" creationId="{4AD386F1-F22E-CF4B-4EF8-839D5722921A}"/>
          </ac:spMkLst>
        </pc:spChg>
        <pc:spChg chg="mod">
          <ac:chgData name="Kamile Walker" userId="S::kamiwalker@churchofjesuschrist.org::a6eb77e7-33bd-4c57-a3cf-538d131ebd75" providerId="AD" clId="Web-{5B09F26B-8FFB-9E95-547C-E5F27AABCC3B}" dt="2023-07-25T17:27:08.648" v="77" actId="1076"/>
          <ac:spMkLst>
            <pc:docMk/>
            <pc:sldMk cId="1753766256" sldId="821"/>
            <ac:spMk id="10" creationId="{8341FD57-6A23-9EAE-4BDD-CAC349729806}"/>
          </ac:spMkLst>
        </pc:spChg>
        <pc:spChg chg="mod">
          <ac:chgData name="Kamile Walker" userId="S::kamiwalker@churchofjesuschrist.org::a6eb77e7-33bd-4c57-a3cf-538d131ebd75" providerId="AD" clId="Web-{5B09F26B-8FFB-9E95-547C-E5F27AABCC3B}" dt="2023-07-25T18:41:15.585" v="91" actId="14100"/>
          <ac:spMkLst>
            <pc:docMk/>
            <pc:sldMk cId="1753766256" sldId="821"/>
            <ac:spMk id="12" creationId="{6C59D464-D814-8A2A-D041-1B74971D1040}"/>
          </ac:spMkLst>
        </pc:spChg>
        <pc:spChg chg="mod">
          <ac:chgData name="Kamile Walker" userId="S::kamiwalker@churchofjesuschrist.org::a6eb77e7-33bd-4c57-a3cf-538d131ebd75" providerId="AD" clId="Web-{5B09F26B-8FFB-9E95-547C-E5F27AABCC3B}" dt="2023-07-25T18:41:26.274" v="93" actId="1076"/>
          <ac:spMkLst>
            <pc:docMk/>
            <pc:sldMk cId="1753766256" sldId="821"/>
            <ac:spMk id="18" creationId="{02FBDC5A-D8BC-1372-6317-A0725F7EF076}"/>
          </ac:spMkLst>
        </pc:spChg>
        <pc:picChg chg="mod">
          <ac:chgData name="Kamile Walker" userId="S::kamiwalker@churchofjesuschrist.org::a6eb77e7-33bd-4c57-a3cf-538d131ebd75" providerId="AD" clId="Web-{5B09F26B-8FFB-9E95-547C-E5F27AABCC3B}" dt="2023-07-25T18:41:22.602" v="92" actId="1076"/>
          <ac:picMkLst>
            <pc:docMk/>
            <pc:sldMk cId="1753766256" sldId="821"/>
            <ac:picMk id="20" creationId="{D2F16718-1BFF-1308-92C5-75C13A9DA4FC}"/>
          </ac:picMkLst>
        </pc:picChg>
      </pc:sldChg>
      <pc:sldChg chg="delSp modSp">
        <pc:chgData name="Kamile Walker" userId="S::kamiwalker@churchofjesuschrist.org::a6eb77e7-33bd-4c57-a3cf-538d131ebd75" providerId="AD" clId="Web-{5B09F26B-8FFB-9E95-547C-E5F27AABCC3B}" dt="2023-07-26T17:06:10.619" v="118"/>
        <pc:sldMkLst>
          <pc:docMk/>
          <pc:sldMk cId="3699205717" sldId="823"/>
        </pc:sldMkLst>
        <pc:spChg chg="del mod">
          <ac:chgData name="Kamile Walker" userId="S::kamiwalker@churchofjesuschrist.org::a6eb77e7-33bd-4c57-a3cf-538d131ebd75" providerId="AD" clId="Web-{5B09F26B-8FFB-9E95-547C-E5F27AABCC3B}" dt="2023-07-26T17:06:10.619" v="118"/>
          <ac:spMkLst>
            <pc:docMk/>
            <pc:sldMk cId="3699205717" sldId="823"/>
            <ac:spMk id="26" creationId="{EA71D5DF-E7DC-3741-8D95-947602EF5B8B}"/>
          </ac:spMkLst>
        </pc:spChg>
      </pc:sldChg>
      <pc:sldChg chg="delSp">
        <pc:chgData name="Kamile Walker" userId="S::kamiwalker@churchofjesuschrist.org::a6eb77e7-33bd-4c57-a3cf-538d131ebd75" providerId="AD" clId="Web-{5B09F26B-8FFB-9E95-547C-E5F27AABCC3B}" dt="2023-07-26T17:06:04.978" v="116"/>
        <pc:sldMkLst>
          <pc:docMk/>
          <pc:sldMk cId="3388375151" sldId="826"/>
        </pc:sldMkLst>
        <pc:spChg chg="del">
          <ac:chgData name="Kamile Walker" userId="S::kamiwalker@churchofjesuschrist.org::a6eb77e7-33bd-4c57-a3cf-538d131ebd75" providerId="AD" clId="Web-{5B09F26B-8FFB-9E95-547C-E5F27AABCC3B}" dt="2023-07-26T17:06:04.978" v="116"/>
          <ac:spMkLst>
            <pc:docMk/>
            <pc:sldMk cId="3388375151" sldId="826"/>
            <ac:spMk id="26" creationId="{EA71D5DF-E7DC-3741-8D95-947602EF5B8B}"/>
          </ac:spMkLst>
        </pc:spChg>
      </pc:sldChg>
      <pc:sldChg chg="delSp modSp">
        <pc:chgData name="Kamile Walker" userId="S::kamiwalker@churchofjesuschrist.org::a6eb77e7-33bd-4c57-a3cf-538d131ebd75" providerId="AD" clId="Web-{5B09F26B-8FFB-9E95-547C-E5F27AABCC3B}" dt="2023-07-26T17:04:59.805" v="115" actId="1076"/>
        <pc:sldMkLst>
          <pc:docMk/>
          <pc:sldMk cId="787964137" sldId="827"/>
        </pc:sldMkLst>
        <pc:spChg chg="mod">
          <ac:chgData name="Kamile Walker" userId="S::kamiwalker@churchofjesuschrist.org::a6eb77e7-33bd-4c57-a3cf-538d131ebd75" providerId="AD" clId="Web-{5B09F26B-8FFB-9E95-547C-E5F27AABCC3B}" dt="2023-07-26T17:04:59.805" v="115" actId="1076"/>
          <ac:spMkLst>
            <pc:docMk/>
            <pc:sldMk cId="787964137" sldId="827"/>
            <ac:spMk id="6" creationId="{03DB7BEA-64A9-8BC2-B0AF-DFD61C001233}"/>
          </ac:spMkLst>
        </pc:spChg>
        <pc:spChg chg="del mod">
          <ac:chgData name="Kamile Walker" userId="S::kamiwalker@churchofjesuschrist.org::a6eb77e7-33bd-4c57-a3cf-538d131ebd75" providerId="AD" clId="Web-{5B09F26B-8FFB-9E95-547C-E5F27AABCC3B}" dt="2023-07-26T17:04:53.617" v="114"/>
          <ac:spMkLst>
            <pc:docMk/>
            <pc:sldMk cId="787964137" sldId="827"/>
            <ac:spMk id="26" creationId="{EA71D5DF-E7DC-3741-8D95-947602EF5B8B}"/>
          </ac:spMkLst>
        </pc:spChg>
      </pc:sldChg>
      <pc:sldChg chg="delSp">
        <pc:chgData name="Kamile Walker" userId="S::kamiwalker@churchofjesuschrist.org::a6eb77e7-33bd-4c57-a3cf-538d131ebd75" providerId="AD" clId="Web-{5B09F26B-8FFB-9E95-547C-E5F27AABCC3B}" dt="2023-07-26T17:04:30.601" v="110"/>
        <pc:sldMkLst>
          <pc:docMk/>
          <pc:sldMk cId="2768504817" sldId="831"/>
        </pc:sldMkLst>
        <pc:spChg chg="del">
          <ac:chgData name="Kamile Walker" userId="S::kamiwalker@churchofjesuschrist.org::a6eb77e7-33bd-4c57-a3cf-538d131ebd75" providerId="AD" clId="Web-{5B09F26B-8FFB-9E95-547C-E5F27AABCC3B}" dt="2023-07-26T17:04:30.601" v="110"/>
          <ac:spMkLst>
            <pc:docMk/>
            <pc:sldMk cId="2768504817" sldId="831"/>
            <ac:spMk id="26" creationId="{EA71D5DF-E7DC-3741-8D95-947602EF5B8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594-634F-B02F-DDD49E018ABE}"/>
              </c:ext>
            </c:extLst>
          </c:dPt>
          <c:dPt>
            <c:idx val="1"/>
            <c:bubble3D val="0"/>
            <c:spPr>
              <a:solidFill>
                <a:schemeClr val="accent6">
                  <a:lumMod val="10000"/>
                  <a:lumOff val="90000"/>
                </a:schemeClr>
              </a:solidFill>
              <a:ln w="19050">
                <a:solidFill>
                  <a:schemeClr val="lt1"/>
                </a:solidFill>
              </a:ln>
              <a:effectLst/>
            </c:spPr>
            <c:extLst>
              <c:ext xmlns:c16="http://schemas.microsoft.com/office/drawing/2014/chart" uri="{C3380CC4-5D6E-409C-BE32-E72D297353CC}">
                <c16:uniqueId val="{00000002-589C-D14E-85C5-73EDE130501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94-634F-B02F-DDD49E018AB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594-634F-B02F-DDD49E018ABE}"/>
              </c:ext>
            </c:extLst>
          </c:dPt>
          <c:cat>
            <c:numRef>
              <c:f>Sheet1!$A$2:$A$5</c:f>
              <c:numCache>
                <c:formatCode>General</c:formatCode>
                <c:ptCount val="4"/>
              </c:numCache>
            </c:numRef>
          </c:cat>
          <c:val>
            <c:numRef>
              <c:f>Sheet1!$B$2:$B$5</c:f>
              <c:numCache>
                <c:formatCode>General</c:formatCode>
                <c:ptCount val="4"/>
                <c:pt idx="0">
                  <c:v>94</c:v>
                </c:pt>
                <c:pt idx="1">
                  <c:v>6</c:v>
                </c:pt>
              </c:numCache>
            </c:numRef>
          </c:val>
          <c:extLst>
            <c:ext xmlns:c16="http://schemas.microsoft.com/office/drawing/2014/chart" uri="{C3380CC4-5D6E-409C-BE32-E72D297353CC}">
              <c16:uniqueId val="{00000000-589C-D14E-85C5-73EDE130501C}"/>
            </c:ext>
          </c:extLst>
        </c:ser>
        <c:dLbls>
          <c:showLegendKey val="0"/>
          <c:showVal val="0"/>
          <c:showCatName val="0"/>
          <c:showSerName val="0"/>
          <c:showPercent val="0"/>
          <c:showBubbleSize val="0"/>
          <c:showLeaderLines val="1"/>
        </c:dLbls>
        <c:firstSliceAng val="45"/>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290_2873BE67.xml><?xml version="1.0" encoding="utf-8"?>
<p188:cmLst xmlns:a="http://schemas.openxmlformats.org/drawingml/2006/main" xmlns:r="http://schemas.openxmlformats.org/officeDocument/2006/relationships" xmlns:p188="http://schemas.microsoft.com/office/powerpoint/2018/8/main">
  <p188:cm id="{0BD24DC8-43C7-4249-B7A0-23203CE81851}" authorId="{B3D1B85B-17E4-EE27-E05D-40C5009AA99C}" created="2023-07-25T14:26:46.122">
    <pc:sldMkLst xmlns:pc="http://schemas.microsoft.com/office/powerpoint/2013/main/command">
      <pc:docMk/>
      <pc:sldMk cId="678674023" sldId="656"/>
    </pc:sldMkLst>
    <p188:txBody>
      <a:bodyPr/>
      <a:lstStyle/>
      <a:p>
        <a:r>
          <a:rPr lang="en-US"/>
          <a:t>Love this page!</a:t>
        </a:r>
      </a:p>
    </p188:txBody>
  </p188:cm>
</p188:cmLst>
</file>

<file path=ppt/comments/modernComment_2C7_EA05BB82.xml><?xml version="1.0" encoding="utf-8"?>
<p188:cmLst xmlns:a="http://schemas.openxmlformats.org/drawingml/2006/main" xmlns:r="http://schemas.openxmlformats.org/officeDocument/2006/relationships" xmlns:p188="http://schemas.microsoft.com/office/powerpoint/2018/8/main">
  <p188:cm id="{C4B25FC3-3318-CC4B-A53F-B88E0CAC84E9}" authorId="{B885D405-1711-1831-477F-C787C7AED583}" status="resolved" created="2023-04-04T16:24:55.112" complete="100000">
    <pc:sldMkLst xmlns:pc="http://schemas.microsoft.com/office/powerpoint/2013/main/command">
      <pc:docMk/>
      <pc:sldMk cId="114471993" sldId="711"/>
    </pc:sldMkLst>
    <p188:txBody>
      <a:bodyPr/>
      <a:lstStyle/>
      <a:p>
        <a:r>
          <a:rPr lang="en-US"/>
          <a:t>Optional resource</a:t>
        </a:r>
      </a:p>
    </p188:txBody>
  </p188:cm>
</p188:cmLst>
</file>

<file path=ppt/comments/modernComment_300_B71D6359.xml><?xml version="1.0" encoding="utf-8"?>
<p188:cmLst xmlns:a="http://schemas.openxmlformats.org/drawingml/2006/main" xmlns:r="http://schemas.openxmlformats.org/officeDocument/2006/relationships" xmlns:p188="http://schemas.microsoft.com/office/powerpoint/2018/8/main">
  <p188:cm id="{BF7020DD-15D0-CD48-96B1-845139ACCB09}" authorId="{B885D405-1711-1831-477F-C787C7AED583}" created="2023-04-04T16:48:16.700">
    <pc:sldMkLst xmlns:pc="http://schemas.microsoft.com/office/powerpoint/2013/main/command">
      <pc:docMk/>
      <pc:sldMk cId="3072156505" sldId="768"/>
    </pc:sldMkLst>
    <p188:replyLst>
      <p188:reply id="{E6578F57-955A-427B-A59F-18AC3F6CE6DC}" authorId="{FED73FBC-A036-D1F6-3299-491A76AB1ED9}" created="2023-06-22T18:43:42.886">
        <p188:txBody>
          <a:bodyPr/>
          <a:lstStyle/>
          <a:p>
            <a:r>
              <a:rPr lang="en-US"/>
              <a:t>[@Krista Tripodi] is Brian's comment something I need to do or has it been done?</a:t>
            </a:r>
          </a:p>
        </p188:txBody>
      </p188:reply>
      <p188:reply id="{139ADC0B-C20C-4BD8-B4C8-F6B0DFA3944B}" authorId="{7F53F03F-B685-1726-08D6-9131CED005D3}" created="2023-06-22T19:19:23.377">
        <p188:txBody>
          <a:bodyPr/>
          <a:lstStyle/>
          <a:p>
            <a:r>
              <a:rPr lang="en-US"/>
              <a:t>[@Eric Eames] can you confirm if this branding and these icons are the latest? </a:t>
            </a:r>
          </a:p>
        </p188:txBody>
      </p188:reply>
      <p188:reply id="{BE76BD55-2740-184A-BA92-5D7323EF2EE1}" authorId="{7F53F03F-B685-1726-08D6-9131CED005D3}" created="2023-06-29T22:30:27.350">
        <p188:txBody>
          <a:bodyPr/>
          <a:lstStyle/>
          <a:p>
            <a:r>
              <a:rPr lang="en-US"/>
              <a:t>[@Kamile Walker] Eric is going to send you some new graphics/images to replace these icons. </a:t>
            </a:r>
          </a:p>
        </p188:txBody>
      </p188:reply>
      <p188:reply id="{F7BB7820-ED79-4CE3-A738-3159D13C0563}" authorId="{FED73FBC-A036-D1F6-3299-491A76AB1ED9}" created="2023-06-29T22:37:12.486">
        <p188:txBody>
          <a:bodyPr/>
          <a:lstStyle/>
          <a:p>
            <a:r>
              <a:rPr lang="en-US"/>
              <a:t>[@Krista Tripodi] I will add them once I receive them. Are they different from what is in the EC icon library? I have access to those icons but they look the same as these. </a:t>
            </a:r>
          </a:p>
        </p188:txBody>
      </p188:reply>
      <p188:reply id="{5B5A638D-84B5-4942-8EA1-4008A848E181}" authorId="{B3D1B85B-17E4-EE27-E05D-40C5009AA99C}" created="2023-07-25T14:36:36.264">
        <p188:txBody>
          <a:bodyPr/>
          <a:lstStyle/>
          <a:p>
            <a:r>
              <a:rPr lang="en-US"/>
              <a:t>Can you downsize that type at the bottom so that there is a little more hierarchy? There is a lot going on and if that was on one line and a little smaller it would help focus on your icons.</a:t>
            </a:r>
          </a:p>
        </p188:txBody>
      </p188:reply>
    </p188:replyLst>
    <p188:txBody>
      <a:bodyPr/>
      <a:lstStyle/>
      <a:p>
        <a:r>
          <a:rPr lang="en-US"/>
          <a:t>Swap out icons and update branding</a:t>
        </a:r>
      </a:p>
    </p188:txBody>
  </p188:cm>
</p188:cmLst>
</file>

<file path=ppt/comments/modernComment_301_1BAB5F3.xml><?xml version="1.0" encoding="utf-8"?>
<p188:cmLst xmlns:a="http://schemas.openxmlformats.org/drawingml/2006/main" xmlns:r="http://schemas.openxmlformats.org/officeDocument/2006/relationships" xmlns:p188="http://schemas.microsoft.com/office/powerpoint/2018/8/main">
  <p188:cm id="{CE84F90C-76A4-4233-9C69-17FE4FB79C99}" authorId="{72C0B539-49F2-F39A-CA35-868BD0F2DB07}" status="resolved" created="2023-06-22T19:55:37.754" complete="100000">
    <pc:sldMkLst xmlns:pc="http://schemas.microsoft.com/office/powerpoint/2013/main/command">
      <pc:docMk/>
      <pc:sldMk cId="29013491" sldId="769"/>
    </pc:sldMkLst>
    <p188:txBody>
      <a:bodyPr/>
      <a:lstStyle/>
      <a:p>
        <a:r>
          <a:rPr lang="en-US"/>
          <a:t>Removed periods since these are acting as bullets that are incomplete sentences</a:t>
        </a:r>
      </a:p>
    </p188:txBody>
  </p188:cm>
</p188:cmLst>
</file>

<file path=ppt/comments/modernComment_30E_561BDEF2.xml><?xml version="1.0" encoding="utf-8"?>
<p188:cmLst xmlns:a="http://schemas.openxmlformats.org/drawingml/2006/main" xmlns:r="http://schemas.openxmlformats.org/officeDocument/2006/relationships" xmlns:p188="http://schemas.microsoft.com/office/powerpoint/2018/8/main">
  <p188:cm id="{6E71DF39-8A5A-4250-AFC9-4B3310203DD7}" authorId="{93B88151-D505-7EBB-F9A3-C8CAD05C723D}" created="2023-08-02T23:52:10.844">
    <ac:txMkLst xmlns:ac="http://schemas.microsoft.com/office/drawing/2013/main/command">
      <pc:docMk xmlns:pc="http://schemas.microsoft.com/office/powerpoint/2013/main/command"/>
      <pc:sldMk xmlns:pc="http://schemas.microsoft.com/office/powerpoint/2013/main/command" cId="1444667122" sldId="782"/>
      <ac:spMk id="28" creationId="{2DF252B8-74CF-F44D-9C66-D414C0B370E9}"/>
      <ac:txMk cp="0" len="7">
        <ac:context len="8" hash="1823259615"/>
      </ac:txMk>
    </ac:txMkLst>
    <p188:pos x="1435223" y="251533"/>
    <p188:txBody>
      <a:bodyPr/>
      <a:lstStyle/>
      <a:p>
        <a:r>
          <a:rPr lang="en-US"/>
          <a:t>Needs a hyphen (like above)
On-line</a:t>
        </a:r>
      </a:p>
    </p188:txBody>
  </p188:cm>
</p188:cmLst>
</file>

<file path=ppt/comments/modernComment_316_27AED165.xml><?xml version="1.0" encoding="utf-8"?>
<p188:cmLst xmlns:a="http://schemas.openxmlformats.org/drawingml/2006/main" xmlns:r="http://schemas.openxmlformats.org/officeDocument/2006/relationships" xmlns:p188="http://schemas.microsoft.com/office/powerpoint/2018/8/main">
  <p188:cm id="{029A59BD-CE54-49D7-8AE6-8A1E98D2839F}" authorId="{93B88151-D505-7EBB-F9A3-C8CAD05C723D}" created="2023-08-02T23:53:25.939">
    <ac:txMkLst xmlns:ac="http://schemas.microsoft.com/office/drawing/2013/main/command">
      <pc:docMk xmlns:pc="http://schemas.microsoft.com/office/powerpoint/2013/main/command"/>
      <pc:sldMk xmlns:pc="http://schemas.microsoft.com/office/powerpoint/2013/main/command" cId="665768293" sldId="790"/>
      <ac:spMk id="2" creationId="{7A1C276B-2A33-C049-AEF8-5AF88AD11664}"/>
      <ac:txMk cp="19" len="8">
        <ac:context len="33" hash="4029779228"/>
      </ac:txMk>
    </ac:txMkLst>
    <p188:pos x="2500543" y="806388"/>
    <p188:txBody>
      <a:bodyPr/>
      <a:lstStyle/>
      <a:p>
        <a:r>
          <a:rPr lang="en-US"/>
          <a:t>Remove italics (just "e" should be italicized)</a:t>
        </a:r>
      </a:p>
    </p188:txBody>
  </p188:cm>
  <p188:cm id="{9E5C040C-D67B-42CB-A927-ADA7C628791C}" authorId="{93B88151-D505-7EBB-F9A3-C8CAD05C723D}" created="2023-08-02T23:59:41.309">
    <ac:txMkLst xmlns:ac="http://schemas.microsoft.com/office/drawing/2013/main/command">
      <pc:docMk xmlns:pc="http://schemas.microsoft.com/office/powerpoint/2013/main/command"/>
      <pc:sldMk xmlns:pc="http://schemas.microsoft.com/office/powerpoint/2013/main/command" cId="665768293" sldId="790"/>
      <ac:spMk id="6" creationId="{BD44D150-ABF4-D14A-BE79-37F452EC4044}"/>
      <ac:txMk cp="38" len="2">
        <ac:context len="99" hash="86377587"/>
      </ac:txMk>
    </ac:txMkLst>
    <p188:pos x="1649766" y="525262"/>
    <p188:txBody>
      <a:bodyPr/>
      <a:lstStyle/>
      <a:p>
        <a:r>
          <a:rPr lang="en-US"/>
          <a:t>I believe this should be "na" (feminine) since BYU-Pathway is referred to with the article "a" (feminine) in the previous slide.</a:t>
        </a:r>
      </a:p>
    </p188:txBody>
  </p188:cm>
</p188:cmLst>
</file>

<file path=ppt/comments/modernComment_319_3CCA6652.xml><?xml version="1.0" encoding="utf-8"?>
<p188:cmLst xmlns:a="http://schemas.openxmlformats.org/drawingml/2006/main" xmlns:r="http://schemas.openxmlformats.org/officeDocument/2006/relationships" xmlns:p188="http://schemas.microsoft.com/office/powerpoint/2018/8/main">
  <p188:cm id="{4F7D3F59-6931-47BF-9042-0C8A920924C2}" authorId="{93B88151-D505-7EBB-F9A3-C8CAD05C723D}" created="2023-08-02T23:56:06.660">
    <ac:txMkLst xmlns:ac="http://schemas.microsoft.com/office/drawing/2013/main/command">
      <pc:docMk xmlns:pc="http://schemas.microsoft.com/office/powerpoint/2013/main/command"/>
      <pc:sldMk xmlns:pc="http://schemas.microsoft.com/office/powerpoint/2013/main/command" cId="1019897426" sldId="793"/>
      <ac:spMk id="2" creationId="{7A1C276B-2A33-C049-AEF8-5AF88AD11664}"/>
      <ac:txMk cp="0" len="24">
        <ac:context len="25" hash="2856993391"/>
      </ac:txMk>
    </ac:txMkLst>
    <p188:pos x="6303145" y="207145"/>
    <p188:txBody>
      <a:bodyPr/>
      <a:lstStyle/>
      <a:p>
        <a:r>
          <a:rPr lang="en-US"/>
          <a:t>I'm not 100% confident in the capitalization rules for Portuguese, so we may want to run it by Silvio or Viccenzo. But the previous slide heading is in title case, and this is in sentence case.</a:t>
        </a:r>
      </a:p>
    </p188:txBody>
  </p188:cm>
  <p188:cm id="{E3187D3A-DAA3-4534-926A-6506DC9B3EF1}" authorId="{93B88151-D505-7EBB-F9A3-C8CAD05C723D}" created="2023-08-03T00:03:35.062">
    <ac:txMkLst xmlns:ac="http://schemas.microsoft.com/office/drawing/2013/main/command">
      <pc:docMk xmlns:pc="http://schemas.microsoft.com/office/powerpoint/2013/main/command"/>
      <pc:sldMk xmlns:pc="http://schemas.microsoft.com/office/powerpoint/2013/main/command" cId="1019897426" sldId="793"/>
      <ac:spMk id="3" creationId="{2198D0CB-A244-3645-93EF-5E47B40A5F95}"/>
      <ac:txMk cp="2" len="11">
        <ac:context len="95" hash="4113801076"/>
      </ac:txMk>
    </ac:txMkLst>
    <p188:pos x="1560990" y="229339"/>
    <p188:txBody>
      <a:bodyPr/>
      <a:lstStyle/>
      <a:p>
        <a:r>
          <a:rPr lang="en-US"/>
          <a:t>I believe this needs a definite article.
A BYU-Pathway</a:t>
        </a:r>
      </a:p>
    </p188:txBody>
  </p188:cm>
  <p188:cm id="{14961392-DB7B-4871-A9E7-C488F7B3A894}" authorId="{93B88151-D505-7EBB-F9A3-C8CAD05C723D}" created="2023-08-03T00:04:47.313">
    <ac:txMkLst xmlns:ac="http://schemas.microsoft.com/office/drawing/2013/main/command">
      <pc:docMk xmlns:pc="http://schemas.microsoft.com/office/powerpoint/2013/main/command"/>
      <pc:sldMk xmlns:pc="http://schemas.microsoft.com/office/powerpoint/2013/main/command" cId="1019897426" sldId="793"/>
      <ac:spMk id="3" creationId="{2198D0CB-A244-3645-93EF-5E47B40A5F95}"/>
      <ac:txMk cp="44" len="28">
        <ac:context len="95" hash="4113801076"/>
      </ac:txMk>
    </ac:txMkLst>
    <p188:pos x="2596718" y="599242"/>
    <p188:txBody>
      <a:bodyPr/>
      <a:lstStyle/>
      <a:p>
        <a:r>
          <a:rPr lang="en-US"/>
          <a:t>These are also missing definite articles.
a BYU-Idaho
a Ensign College</a:t>
        </a:r>
      </a:p>
    </p188:txBody>
  </p188:cm>
  <p188:cm id="{76494493-F25A-410B-BEFA-F7743C981B79}" authorId="{93B88151-D505-7EBB-F9A3-C8CAD05C723D}" created="2023-08-03T00:06:20.455">
    <ac:txMkLst xmlns:ac="http://schemas.microsoft.com/office/drawing/2013/main/command">
      <pc:docMk xmlns:pc="http://schemas.microsoft.com/office/powerpoint/2013/main/command"/>
      <pc:sldMk xmlns:pc="http://schemas.microsoft.com/office/powerpoint/2013/main/command" cId="1019897426" sldId="793"/>
      <ac:spMk id="3" creationId="{2198D0CB-A244-3645-93EF-5E47B40A5F95}"/>
      <ac:txMk cp="85" len="1">
        <ac:context len="95" hash="4113801076"/>
      </ac:txMk>
    </ac:txMkLst>
    <p188:pos x="5504155" y="599242"/>
    <p188:replyLst>
      <p188:reply id="{D33D6876-8F43-4538-9A63-CE0D6DE22FB3}" authorId="{FED73FBC-A036-D1F6-3299-491A76AB1ED9}" created="2023-08-07T14:30:05.581">
        <p188:txBody>
          <a:bodyPr/>
          <a:lstStyle/>
          <a:p>
            <a:r>
              <a:rPr lang="en-US"/>
              <a:t>[@Lauren Conrad] Do I need to change any of the wording before diplomas? </a:t>
            </a:r>
          </a:p>
        </p188:txBody>
      </p188:reply>
    </p188:replyLst>
    <p188:txBody>
      <a:bodyPr/>
      <a:lstStyle/>
      <a:p>
        <a:r>
          <a:rPr lang="en-US"/>
          <a:t>This translates to "graduations." I think "diplomas" would be a better fit here (like we use in the previous slide).</a:t>
        </a:r>
      </a:p>
    </p188:txBody>
  </p188:cm>
  <p188:cm id="{366C0182-F5D1-419C-945D-3EA435664B19}" authorId="{93B88151-D505-7EBB-F9A3-C8CAD05C723D}" created="2023-08-03T00:07:00.127">
    <ac:txMkLst xmlns:ac="http://schemas.microsoft.com/office/drawing/2013/main/command">
      <pc:docMk xmlns:pc="http://schemas.microsoft.com/office/powerpoint/2013/main/command"/>
      <pc:sldMk xmlns:pc="http://schemas.microsoft.com/office/powerpoint/2013/main/command" cId="1019897426" sldId="793"/>
      <ac:spMk id="4" creationId="{F181B19D-8554-ED4C-8221-8D164BD2AE03}"/>
      <ac:txMk cp="13" len="1">
        <ac:context len="98" hash="2634786226"/>
      </ac:txMk>
    </ac:txMkLst>
    <p188:pos x="1597980" y="591844"/>
    <p188:txBody>
      <a:bodyPr/>
      <a:lstStyle/>
      <a:p>
        <a:r>
          <a:rPr lang="en-US"/>
          <a:t>Change to "Worldwide" (this is a translation of that).</a:t>
        </a:r>
      </a:p>
    </p188:txBody>
  </p188:cm>
  <p188:cm id="{ED23395A-5E56-4A5A-8CC4-7C02A57AAF7A}" authorId="{93B88151-D505-7EBB-F9A3-C8CAD05C723D}" created="2023-08-03T00:07:32.096">
    <ac:txMkLst xmlns:ac="http://schemas.microsoft.com/office/drawing/2013/main/command">
      <pc:docMk xmlns:pc="http://schemas.microsoft.com/office/powerpoint/2013/main/command"/>
      <pc:sldMk xmlns:pc="http://schemas.microsoft.com/office/powerpoint/2013/main/command" cId="1019897426" sldId="793"/>
      <ac:spMk id="4" creationId="{F181B19D-8554-ED4C-8221-8D164BD2AE03}"/>
      <ac:txMk cp="31" len="7">
        <ac:context len="98" hash="2634786226"/>
      </ac:txMk>
    </ac:txMkLst>
    <p188:pos x="1916097" y="1072718"/>
    <p188:txBody>
      <a:bodyPr/>
      <a:lstStyle/>
      <a:p>
        <a:r>
          <a:rPr lang="en-US"/>
          <a:t>Needs a hyphen.
on-line</a:t>
        </a:r>
      </a:p>
    </p188:txBody>
  </p188:cm>
  <p188:cm id="{C22CCCBC-415C-4F77-B53C-BBD2C30F3715}" authorId="{93B88151-D505-7EBB-F9A3-C8CAD05C723D}" created="2023-08-03T00:08:14.612">
    <ac:txMkLst xmlns:ac="http://schemas.microsoft.com/office/drawing/2013/main/command">
      <pc:docMk xmlns:pc="http://schemas.microsoft.com/office/powerpoint/2013/main/command"/>
      <pc:sldMk xmlns:pc="http://schemas.microsoft.com/office/powerpoint/2013/main/command" cId="1019897426" sldId="793"/>
      <ac:spMk id="4" creationId="{F181B19D-8554-ED4C-8221-8D164BD2AE03}"/>
      <ac:txMk cp="71" len="1">
        <ac:context len="98" hash="2634786226"/>
      </ac:txMk>
    </ac:txMkLst>
    <p188:pos x="2922233" y="1805126"/>
    <p188:txBody>
      <a:bodyPr/>
      <a:lstStyle/>
      <a:p>
        <a:r>
          <a:rPr lang="en-US"/>
          <a:t>I'd also change this to "diploma."</a:t>
        </a:r>
      </a:p>
    </p188:txBody>
  </p188:cm>
  <p188:cm id="{4D16BF64-35A6-4CC5-9D36-48DAA51F7B0B}" authorId="{93B88151-D505-7EBB-F9A3-C8CAD05C723D}" created="2023-08-03T00:08:43.613">
    <ac:txMkLst xmlns:ac="http://schemas.microsoft.com/office/drawing/2013/main/command">
      <pc:docMk xmlns:pc="http://schemas.microsoft.com/office/powerpoint/2013/main/command"/>
      <pc:sldMk xmlns:pc="http://schemas.microsoft.com/office/powerpoint/2013/main/command" cId="1019897426" sldId="793"/>
      <ac:spMk id="5" creationId="{0335E6F8-EF19-6242-8508-519A043B3930}"/>
      <ac:txMk cp="14" len="1">
        <ac:context len="101" hash="324830301"/>
      </ac:txMk>
    </ac:txMkLst>
    <p188:pos x="1864310" y="591844"/>
    <p188:txBody>
      <a:bodyPr/>
      <a:lstStyle/>
      <a:p>
        <a:r>
          <a:rPr lang="en-US"/>
          <a:t>Should be all caps to match.</a:t>
        </a:r>
      </a:p>
    </p188:txBody>
  </p188:cm>
</p188:cmLst>
</file>

<file path=ppt/comments/modernComment_31D_FE8CE52B.xml><?xml version="1.0" encoding="utf-8"?>
<p188:cmLst xmlns:a="http://schemas.openxmlformats.org/drawingml/2006/main" xmlns:r="http://schemas.openxmlformats.org/officeDocument/2006/relationships" xmlns:p188="http://schemas.microsoft.com/office/powerpoint/2018/8/main">
  <p188:cm id="{B3D541F8-C3D1-4966-B641-BF8F3318D326}" authorId="{B3D1B85B-17E4-EE27-E05D-40C5009AA99C}" created="2023-07-25T14:16:22.869">
    <pc:sldMkLst xmlns:pc="http://schemas.microsoft.com/office/powerpoint/2013/main/command">
      <pc:docMk/>
      <pc:sldMk cId="4270646571" sldId="797"/>
    </pc:sldMkLst>
    <p188:txBody>
      <a:bodyPr/>
      <a:lstStyle/>
      <a:p>
        <a:r>
          <a:rPr lang="en-US"/>
          <a:t>Can you size the main text down just a little bit so that it doesn't line up with the page number. It should end above the number. It should be a small change.</a:t>
        </a:r>
      </a:p>
    </p188:txBody>
  </p188:cm>
  <p188:cm id="{543242B0-4028-42AD-86B1-B662E375E943}" authorId="{93B88151-D505-7EBB-F9A3-C8CAD05C723D}" created="2023-08-03T00:10:23.114">
    <ac:txMkLst xmlns:ac="http://schemas.microsoft.com/office/drawing/2013/main/command">
      <pc:docMk xmlns:pc="http://schemas.microsoft.com/office/powerpoint/2013/main/command"/>
      <pc:sldMk xmlns:pc="http://schemas.microsoft.com/office/powerpoint/2013/main/command" cId="4270646571" sldId="797"/>
      <ac:spMk id="5" creationId="{7615F437-AACA-9175-406B-64C66D810847}"/>
      <ac:txMk cp="91" len="8">
        <ac:context len="466" hash="1898310606"/>
      </ac:txMk>
    </ac:txMkLst>
    <p188:pos x="3188563" y="1546194"/>
    <p188:txBody>
      <a:bodyPr/>
      <a:lstStyle/>
      <a:p>
        <a:r>
          <a:rPr lang="en-US"/>
          <a:t>Needs a hyphen.
on-line</a:t>
        </a:r>
      </a:p>
    </p188:txBody>
  </p188:cm>
  <p188:cm id="{3F2E588A-4D41-432C-B87B-71B86327A7DD}" authorId="{93B88151-D505-7EBB-F9A3-C8CAD05C723D}" created="2023-08-03T00:13:50.851">
    <ac:txMkLst xmlns:ac="http://schemas.microsoft.com/office/drawing/2013/main/command">
      <pc:docMk xmlns:pc="http://schemas.microsoft.com/office/powerpoint/2013/main/command"/>
      <pc:sldMk xmlns:pc="http://schemas.microsoft.com/office/powerpoint/2013/main/command" cId="4270646571" sldId="797"/>
      <ac:spMk id="5" creationId="{7615F437-AACA-9175-406B-64C66D810847}"/>
      <ac:txMk cp="309" len="14">
        <ac:context len="466" hash="1898310606"/>
      </ac:txMk>
    </ac:txMkLst>
    <p188:pos x="2027067" y="3780407"/>
    <p188:txBody>
      <a:bodyPr/>
      <a:lstStyle/>
      <a:p>
        <a:r>
          <a:rPr lang="en-US"/>
          <a:t>This needs a definite article since it's a proper noun. I'm not sure if it would be feminine (a) or masculine (o). Maybe masculine since PathwayConnect is masculine? (O EnglishConnect)</a:t>
        </a:r>
      </a:p>
    </p188:txBody>
  </p188:cm>
</p188:cmLst>
</file>

<file path=ppt/comments/modernComment_322_75F3E2F4.xml><?xml version="1.0" encoding="utf-8"?>
<p188:cmLst xmlns:a="http://schemas.openxmlformats.org/drawingml/2006/main" xmlns:r="http://schemas.openxmlformats.org/officeDocument/2006/relationships" xmlns:p188="http://schemas.microsoft.com/office/powerpoint/2018/8/main">
  <p188:cm id="{265A4138-DE9D-4DDC-A5C4-AC9D71F934F4}" authorId="{72C0B539-49F2-F39A-CA35-868BD0F2DB07}" status="resolved" created="2023-06-22T19:53:04.326" complete="100000">
    <ac:txMkLst xmlns:ac="http://schemas.microsoft.com/office/drawing/2013/main/command">
      <pc:docMk xmlns:pc="http://schemas.microsoft.com/office/powerpoint/2013/main/command"/>
      <pc:sldMk xmlns:pc="http://schemas.microsoft.com/office/powerpoint/2013/main/command" cId="1978917620" sldId="802"/>
      <ac:spMk id="2" creationId="{98E4E0C1-C04E-5949-978F-7C827D444D55}"/>
      <ac:txMk cp="25" len="100">
        <ac:context len="126" hash="2053605567"/>
      </ac:txMk>
    </ac:txMkLst>
    <p188:pos x="3047999" y="573548"/>
    <p188:replyLst>
      <p188:reply id="{DC446945-8361-466D-A0B2-0431C6A4AB86}" authorId="{72C0B539-49F2-F39A-CA35-868BD0F2DB07}" created="2023-06-22T19:53:33.452">
        <p188:txBody>
          <a:bodyPr/>
          <a:lstStyle/>
          <a:p>
            <a:r>
              <a:rPr lang="en-US"/>
              <a:t>Italicized:
"Inauguration Remarks,” (BYU-Pathway Worldwide Inauguration, Mar. 10, 2022), byupathway.org/speeches</a:t>
            </a:r>
          </a:p>
        </p188:txBody>
      </p188:reply>
      <p188:reply id="{4563A8D2-E496-4CAE-8E4C-01C68E2D88E3}" authorId="{FED73FBC-A036-D1F6-3299-491A76AB1ED9}" created="2023-06-28T22:17:16.557">
        <p188:txBody>
          <a:bodyPr/>
          <a:lstStyle/>
          <a:p>
            <a:r>
              <a:rPr lang="en-US"/>
              <a:t>BYU-Pathway Worldwide is split between two lines, I can't get it to be on the same line without making the text box super narrow. Thoughts?</a:t>
            </a:r>
          </a:p>
        </p188:txBody>
      </p188:reply>
      <p188:reply id="{5AC7D59B-ADBC-4AA7-81F1-25CED399A676}" authorId="{72C0B539-49F2-F39A-CA35-868BD0F2DB07}" created="2023-06-29T23:34:10.307">
        <p188:txBody>
          <a:bodyPr/>
          <a:lstStyle/>
          <a:p>
            <a:r>
              <a:rPr lang="en-US"/>
              <a:t>Can you keep "BYU-Pathway" together with "Worldwide" on the next line?</a:t>
            </a:r>
          </a:p>
        </p188:txBody>
      </p188:reply>
    </p188:replyLst>
    <p188:txBody>
      <a:bodyPr/>
      <a:lstStyle/>
      <a:p>
        <a:r>
          <a:rPr lang="en-US"/>
          <a:t>No citation?</a:t>
        </a:r>
      </a:p>
    </p188:txBody>
  </p188:cm>
</p188:cmLst>
</file>

<file path=ppt/comments/modernComment_325_B75540C5.xml><?xml version="1.0" encoding="utf-8"?>
<p188:cmLst xmlns:a="http://schemas.openxmlformats.org/drawingml/2006/main" xmlns:r="http://schemas.openxmlformats.org/officeDocument/2006/relationships" xmlns:p188="http://schemas.microsoft.com/office/powerpoint/2018/8/main">
  <p188:cm id="{0E933016-E5C5-4AF9-A259-26036E1BC28E}" authorId="{B3D1B85B-17E4-EE27-E05D-40C5009AA99C}" created="2023-07-25T14:18:18.107">
    <pc:sldMkLst xmlns:pc="http://schemas.microsoft.com/office/powerpoint/2013/main/command">
      <pc:docMk/>
      <pc:sldMk cId="3075817669" sldId="805"/>
    </pc:sldMkLst>
    <p188:txBody>
      <a:bodyPr/>
      <a:lstStyle/>
      <a:p>
        <a:r>
          <a:rPr lang="en-US"/>
          <a:t>Can you pull the bar code and the Lista de Diplomas up so that it lines up with the bottom of the certificate box?</a:t>
        </a:r>
      </a:p>
    </p188:txBody>
  </p188:cm>
  <p188:cm id="{6B7EB123-2AB3-43B1-88A1-79CA1CDC9DBE}" authorId="{B3D1B85B-17E4-EE27-E05D-40C5009AA99C}" created="2023-07-25T14:19:36.234">
    <pc:sldMkLst xmlns:pc="http://schemas.microsoft.com/office/powerpoint/2013/main/command">
      <pc:docMk/>
      <pc:sldMk cId="3075817669" sldId="805"/>
    </pc:sldMkLst>
    <p188:txBody>
      <a:bodyPr/>
      <a:lstStyle/>
      <a:p>
        <a:r>
          <a:rPr lang="en-US"/>
          <a:t>Also, is it possible to size down just a little bit the * bit above the bar code? It may be a call that has already been made. lmk, because it just looks like it is competing with the certificates.</a:t>
        </a:r>
      </a:p>
    </p188:txBody>
  </p188:cm>
  <p188:cm id="{749FD094-FADC-4EC6-8CB3-B80A24FC8952}" authorId="{93B88151-D505-7EBB-F9A3-C8CAD05C723D}" created="2023-08-03T00:18:44.870">
    <ac:txMkLst xmlns:ac="http://schemas.microsoft.com/office/drawing/2013/main/command">
      <pc:docMk xmlns:pc="http://schemas.microsoft.com/office/powerpoint/2013/main/command"/>
      <pc:sldMk xmlns:pc="http://schemas.microsoft.com/office/powerpoint/2013/main/command" cId="3075817669" sldId="805"/>
      <ac:spMk id="25" creationId="{A07D95AC-7670-0242-AED5-8D9CFC4B487B}"/>
      <ac:txMk cp="0" len="19">
        <ac:context len="20" hash="596768109"/>
      </ac:txMk>
    </ac:txMkLst>
    <p188:pos x="4742155" y="199747"/>
    <p188:txBody>
      <a:bodyPr/>
      <a:lstStyle/>
      <a:p>
        <a:r>
          <a:rPr lang="en-US"/>
          <a:t>I actually think just "Ofertas" (offers) would make more sense.</a:t>
        </a:r>
      </a:p>
    </p188:txBody>
  </p188:cm>
  <p188:cm id="{47D82991-887B-4118-8B31-EF4FC8115C68}" authorId="{93B88151-D505-7EBB-F9A3-C8CAD05C723D}" created="2023-08-03T00:20:41.059">
    <ac:txMkLst xmlns:ac="http://schemas.microsoft.com/office/drawing/2013/main/command">
      <pc:docMk xmlns:pc="http://schemas.microsoft.com/office/powerpoint/2013/main/command"/>
      <pc:sldMk xmlns:pc="http://schemas.microsoft.com/office/powerpoint/2013/main/command" cId="3075817669" sldId="805"/>
      <ac:spMk id="16" creationId="{B17D727E-1028-802B-8045-03F792C5CB36}"/>
      <ac:txMk cp="16">
        <ac:context len="25" hash="379091900"/>
      </ac:txMk>
    </ac:txMkLst>
    <p188:pos x="1087514" y="429087"/>
    <p188:txBody>
      <a:bodyPr/>
      <a:lstStyle/>
      <a:p>
        <a:r>
          <a:rPr lang="en-US"/>
          <a:t>I've more commonly seen "Negócios" for "business," but this might be a better/more formal translation.</a:t>
        </a:r>
      </a:p>
    </p188:txBody>
  </p188:cm>
  <p188:cm id="{E233D10B-3D21-4A31-9C09-145F8AFF2180}" authorId="{93B88151-D505-7EBB-F9A3-C8CAD05C723D}" created="2023-08-03T00:24:15.171">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142" len="8">
        <ac:context len="765" hash="2032649171"/>
      </ac:txMk>
    </ac:txMkLst>
    <p188:pos x="3195961" y="1390834"/>
    <p188:txBody>
      <a:bodyPr/>
      <a:lstStyle/>
      <a:p>
        <a:r>
          <a:rPr lang="en-US"/>
          <a:t>Make sure this matches with what we use for "business" above for the Applied Business Management degree.</a:t>
        </a:r>
      </a:p>
    </p188:txBody>
  </p188:cm>
  <p188:cm id="{9CB8C110-A29B-4451-B5AA-A213922158FA}" authorId="{93B88151-D505-7EBB-F9A3-C8CAD05C723D}" created="2023-08-03T00:27:19.955">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228" len="30">
        <ac:context len="765" hash="2032649171"/>
      </ac:txMk>
    </ac:txMkLst>
    <p188:pos x="2678097" y="2522737"/>
    <p188:txBody>
      <a:bodyPr/>
      <a:lstStyle/>
      <a:p>
        <a:r>
          <a:rPr lang="en-US"/>
          <a:t>I think this should be "Saúde de Comunidade &amp; Ambiente."</a:t>
        </a:r>
      </a:p>
    </p188:txBody>
  </p188:cm>
  <p188:cm id="{FEDEC4B5-676B-41E4-B6AD-2F28ACA054F6}" authorId="{93B88151-D505-7EBB-F9A3-C8CAD05C723D}" created="2023-08-03T00:27:53.065">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343" len="7">
        <ac:context len="765" hash="2032649171"/>
      </ac:txMk>
    </ac:txMkLst>
    <p188:pos x="1856912" y="3654640"/>
    <p188:txBody>
      <a:bodyPr/>
      <a:lstStyle/>
      <a:p>
        <a:r>
          <a:rPr lang="en-US"/>
          <a:t>Capitalize</a:t>
        </a:r>
      </a:p>
    </p188:txBody>
  </p188:cm>
</p188:cmLst>
</file>

<file path=ppt/comments/modernComment_329_170BC622.xml><?xml version="1.0" encoding="utf-8"?>
<p188:cmLst xmlns:a="http://schemas.openxmlformats.org/drawingml/2006/main" xmlns:r="http://schemas.openxmlformats.org/officeDocument/2006/relationships" xmlns:p188="http://schemas.microsoft.com/office/powerpoint/2018/8/main">
  <p188:cm id="{74793868-F5CC-4411-B71D-B1924DE06CE3}" authorId="{93B88151-D505-7EBB-F9A3-C8CAD05C723D}" created="2023-08-03T00:35:52.932">
    <ac:txMkLst xmlns:ac="http://schemas.microsoft.com/office/drawing/2013/main/command">
      <pc:docMk xmlns:pc="http://schemas.microsoft.com/office/powerpoint/2013/main/command"/>
      <pc:sldMk xmlns:pc="http://schemas.microsoft.com/office/powerpoint/2013/main/command" cId="386647586" sldId="809"/>
      <ac:spMk id="3" creationId="{6A57A1E5-BB56-3949-BF3A-C64C36CAB647}"/>
      <ac:txMk cp="0" len="1">
        <ac:context len="252" hash="2086107287"/>
      </ac:txMk>
    </ac:txMkLst>
    <p188:pos x="140563" y="310718"/>
    <p188:replyLst>
      <p188:reply id="{6D2D4521-9044-4874-A2BA-CACDB60496CF}" authorId="{FED73FBC-A036-D1F6-3299-491A76AB1ED9}" created="2023-08-07T19:17:01.749">
        <p188:txBody>
          <a:bodyPr/>
          <a:lstStyle/>
          <a:p>
            <a:r>
              <a:rPr lang="en-US"/>
              <a:t>I am not sure what is needed to change here.</a:t>
            </a:r>
          </a:p>
        </p188:txBody>
      </p188:reply>
    </p188:replyLst>
    <p188:txBody>
      <a:bodyPr/>
      <a:lstStyle/>
      <a:p>
        <a:r>
          <a:rPr lang="en-US"/>
          <a:t>Different quotation marks than the English version here and at the end of the quote.</a:t>
        </a:r>
      </a:p>
    </p188:txBody>
  </p188:cm>
</p188:cmLst>
</file>

<file path=ppt/comments/modernComment_32A_59E0258F.xml><?xml version="1.0" encoding="utf-8"?>
<p188:cmLst xmlns:a="http://schemas.openxmlformats.org/drawingml/2006/main" xmlns:r="http://schemas.openxmlformats.org/officeDocument/2006/relationships" xmlns:p188="http://schemas.microsoft.com/office/powerpoint/2018/8/main">
  <p188:cm id="{23323376-3DFF-4C73-A839-E3726D0CF6A3}" authorId="{93B88151-D505-7EBB-F9A3-C8CAD05C723D}" created="2023-08-03T00:17:14.776">
    <ac:deMkLst xmlns:ac="http://schemas.microsoft.com/office/drawing/2013/main/command">
      <pc:docMk xmlns:pc="http://schemas.microsoft.com/office/powerpoint/2013/main/command"/>
      <pc:sldMk xmlns:pc="http://schemas.microsoft.com/office/powerpoint/2013/main/command" cId="1507861903" sldId="810"/>
      <ac:picMk id="3" creationId="{DD47FAD8-AD10-E57E-FBD1-C7CEB01A552A}"/>
    </ac:deMkLst>
    <p188:txBody>
      <a:bodyPr/>
      <a:lstStyle/>
      <a:p>
        <a:r>
          <a:rPr lang="en-US"/>
          <a:t>"Grau" should also be "Diploma." Grau means degree as in temperature.</a:t>
        </a:r>
      </a:p>
    </p188:txBody>
  </p188:cm>
</p188:cmLst>
</file>

<file path=ppt/comments/modernComment_331_B630ED2E.xml><?xml version="1.0" encoding="utf-8"?>
<p188:cmLst xmlns:a="http://schemas.openxmlformats.org/drawingml/2006/main" xmlns:r="http://schemas.openxmlformats.org/officeDocument/2006/relationships" xmlns:p188="http://schemas.microsoft.com/office/powerpoint/2018/8/main">
  <p188:cm id="{A3BBAA12-B331-43E6-A71B-3A73DC0EA105}" authorId="{B3D1B85B-17E4-EE27-E05D-40C5009AA99C}" created="2023-07-25T14:25:58.730">
    <pc:sldMkLst xmlns:pc="http://schemas.microsoft.com/office/powerpoint/2013/main/command">
      <pc:docMk/>
      <pc:sldMk cId="3056659758" sldId="817"/>
    </pc:sldMkLst>
    <p188:txBody>
      <a:bodyPr/>
      <a:lstStyle/>
      <a:p>
        <a:r>
          <a:rPr lang="en-US"/>
          <a:t>Just downsize the type below the $81 so that it doesn't end so close to the edge of the slide. OR just downsize the (USD) so that it could give breathing room on that margin</a:t>
        </a:r>
      </a:p>
    </p188:txBody>
  </p188:cm>
</p188:cmLst>
</file>

<file path=ppt/comments/modernComment_333_D4C697CF.xml><?xml version="1.0" encoding="utf-8"?>
<p188:cmLst xmlns:a="http://schemas.openxmlformats.org/drawingml/2006/main" xmlns:r="http://schemas.openxmlformats.org/officeDocument/2006/relationships" xmlns:p188="http://schemas.microsoft.com/office/powerpoint/2018/8/main">
  <p188:cm id="{0EF54A38-1DC7-42D5-BA6F-0C9C0AA3F38F}" authorId="{B3D1B85B-17E4-EE27-E05D-40C5009AA99C}" created="2023-07-25T14:22:02.207">
    <pc:sldMkLst xmlns:pc="http://schemas.microsoft.com/office/powerpoint/2013/main/command">
      <pc:docMk/>
      <pc:sldMk cId="3569784783" sldId="819"/>
    </pc:sldMkLst>
    <p188:txBody>
      <a:bodyPr/>
      <a:lstStyle/>
      <a:p>
        <a:r>
          <a:rPr lang="en-US"/>
          <a:t>The 3 pieces of information below the pictures just need to be sized down so that they aren't quite as close to the edge of the slide. I would leave the icons the same size and size down the words so that they can be centered under each picture.</a:t>
        </a:r>
      </a:p>
    </p188:txBody>
  </p188:cm>
</p188:cmLst>
</file>

<file path=ppt/comments/modernComment_334_62818D6C.xml><?xml version="1.0" encoding="utf-8"?>
<p188:cmLst xmlns:a="http://schemas.openxmlformats.org/drawingml/2006/main" xmlns:r="http://schemas.openxmlformats.org/officeDocument/2006/relationships" xmlns:p188="http://schemas.microsoft.com/office/powerpoint/2018/8/main">
  <p188:cm id="{9FE77092-8B54-43F0-A43A-1F5AF16DFE9D}" authorId="{93B88151-D505-7EBB-F9A3-C8CAD05C723D}" created="2023-08-03T00:32:17.289">
    <ac:txMkLst xmlns:ac="http://schemas.microsoft.com/office/drawing/2013/main/command">
      <pc:docMk xmlns:pc="http://schemas.microsoft.com/office/powerpoint/2013/main/command"/>
      <pc:sldMk xmlns:pc="http://schemas.microsoft.com/office/powerpoint/2013/main/command" cId="1652657516" sldId="820"/>
      <ac:spMk id="18" creationId="{E5360234-A6FA-4FE7-3C0B-C21B407E304B}"/>
      <ac:txMk cp="0" len="33">
        <ac:context len="34" hash="2605299991"/>
      </ac:txMk>
    </ac:txMkLst>
    <p188:pos x="8633533" y="-14796"/>
    <p188:txBody>
      <a:bodyPr/>
      <a:lstStyle/>
      <a:p>
        <a:r>
          <a:rPr lang="en-US"/>
          <a:t>Same question on title case vs. sentence case (it's title case in the English version).</a:t>
        </a:r>
      </a:p>
    </p188:txBody>
  </p188:cm>
</p188:cmLst>
</file>

<file path=ppt/comments/modernComment_335_68885970.xml><?xml version="1.0" encoding="utf-8"?>
<p188:cmLst xmlns:a="http://schemas.openxmlformats.org/drawingml/2006/main" xmlns:r="http://schemas.openxmlformats.org/officeDocument/2006/relationships" xmlns:p188="http://schemas.microsoft.com/office/powerpoint/2018/8/main">
  <p188:cm id="{1C87C96C-03E0-4B5A-A4E5-3A9DC0D8EC7B}" authorId="{B3D1B85B-17E4-EE27-E05D-40C5009AA99C}" created="2023-07-25T14:24:18.431">
    <pc:sldMkLst xmlns:pc="http://schemas.microsoft.com/office/powerpoint/2013/main/command">
      <pc:docMk/>
      <pc:sldMk cId="1753766256" sldId="821"/>
    </pc:sldMkLst>
    <p188:txBody>
      <a:bodyPr/>
      <a:lstStyle/>
      <a:p>
        <a:r>
          <a:rPr lang="en-US"/>
          <a:t>Same thing with bottom type. Just size it down by a little so it ends above that 10.</a:t>
        </a:r>
      </a:p>
    </p188:txBody>
  </p188:cm>
  <p188:cm id="{4A0CC95F-B7DD-48DD-B016-CAA56DE3F92B}" authorId="{93B88151-D505-7EBB-F9A3-C8CAD05C723D}" created="2023-08-03T00:32:59.383">
    <ac:txMkLst xmlns:ac="http://schemas.microsoft.com/office/drawing/2013/main/command">
      <pc:docMk xmlns:pc="http://schemas.microsoft.com/office/powerpoint/2013/main/command"/>
      <pc:sldMk xmlns:pc="http://schemas.microsoft.com/office/powerpoint/2013/main/command" cId="1753766256" sldId="821"/>
      <ac:spMk id="3" creationId="{A89DF289-C5D8-A740-07DB-8FADEEE5E2D7}"/>
      <ac:txMk cp="11" len="6">
        <ac:context len="18" hash="4227202710"/>
      </ac:txMk>
    </ac:txMkLst>
    <p188:pos x="3528873" y="725009"/>
    <p188:txBody>
      <a:bodyPr/>
      <a:lstStyle/>
      <a:p>
        <a:r>
          <a:rPr lang="en-US"/>
          <a:t>Capitalization?</a:t>
        </a:r>
      </a:p>
    </p188:txBody>
  </p188:cm>
  <p188:cm id="{75624591-6BE1-4B9C-A721-753AE8AD0A65}" authorId="{93B88151-D505-7EBB-F9A3-C8CAD05C723D}" created="2023-08-03T00:34:20.212">
    <ac:txMkLst xmlns:ac="http://schemas.microsoft.com/office/drawing/2013/main/command">
      <pc:docMk xmlns:pc="http://schemas.microsoft.com/office/powerpoint/2013/main/command"/>
      <pc:sldMk xmlns:pc="http://schemas.microsoft.com/office/powerpoint/2013/main/command" cId="1753766256" sldId="821"/>
      <ac:spMk id="9" creationId="{4AD386F1-F22E-CF4B-4EF8-839D5722921A}"/>
      <ac:txMk cp="13" len="9">
        <ac:context len="81" hash="3720239331"/>
      </ac:txMk>
    </ac:txMkLst>
    <p188:pos x="3994951" y="236737"/>
    <p188:txBody>
      <a:bodyPr/>
      <a:lstStyle/>
      <a:p>
        <a:r>
          <a:rPr lang="en-US"/>
          <a:t>I would change this to "crescendo" (growing). The current translation is "Opportunity for growth."</a:t>
        </a:r>
      </a:p>
    </p188:txBody>
  </p188:cm>
</p188:cmLst>
</file>

<file path=ppt/comments/modernComment_33F_A50407F1.xml><?xml version="1.0" encoding="utf-8"?>
<p188:cmLst xmlns:a="http://schemas.openxmlformats.org/drawingml/2006/main" xmlns:r="http://schemas.openxmlformats.org/officeDocument/2006/relationships" xmlns:p188="http://schemas.microsoft.com/office/powerpoint/2018/8/main">
  <p188:cm id="{16F1ADD8-1499-453E-B5B4-BE47789FB7A6}" authorId="{B3D1B85B-17E4-EE27-E05D-40C5009AA99C}" created="2023-07-26T16:34:45.237">
    <pc:sldMkLst xmlns:pc="http://schemas.microsoft.com/office/powerpoint/2013/main/command">
      <pc:docMk/>
      <pc:sldMk cId="2768504817" sldId="831"/>
    </pc:sldMkLst>
    <p188:replyLst>
      <p188:reply id="{C1F94FBA-6AB8-4FE3-ADB6-F853A210B56F}" authorId="{7F53F03F-B685-1726-08D6-9131CED005D3}" created="2023-07-26T16:47:05.508">
        <p188:txBody>
          <a:bodyPr/>
          <a:lstStyle/>
          <a:p>
            <a:r>
              <a:rPr lang="en-US"/>
              <a:t>[@Heidi Jean Harms] I'm open to that. You would just have to also change it on the English version of the presentation and ask the web team to reupload to https://www.byupathway.org/marketing-resources</a:t>
            </a:r>
          </a:p>
        </p188:txBody>
      </p188:reply>
    </p188:replyLst>
    <p188:txBody>
      <a:bodyPr/>
      <a:lstStyle/>
      <a:p>
        <a:r>
          <a:rPr lang="en-US"/>
          <a:t>[@Krista Tripodi] there is a page # here that I would recommend removing, and there is also a page # on slides 9, 14, 21,  and 35. Since they are full bleed slides my recommendation is to remove them.  It is similar look to slide 17.</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E52FE1-CCD4-DA4A-9401-C14580C5AC55}" type="datetimeFigureOut">
              <a:rPr lang="en-US" smtClean="0"/>
              <a:t>1/31/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D1130C-9DDE-7143-B00B-FB168B1F4C25}" type="slidenum">
              <a:rPr lang="en-US" smtClean="0"/>
              <a:t>‹#›</a:t>
            </a:fld>
            <a:endParaRPr lang="en-US"/>
          </a:p>
        </p:txBody>
      </p:sp>
    </p:spTree>
    <p:extLst>
      <p:ext uri="{BB962C8B-B14F-4D97-AF65-F5344CB8AC3E}">
        <p14:creationId xmlns:p14="http://schemas.microsoft.com/office/powerpoint/2010/main" val="384578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A43A2C-642F-6749-9FE2-174AD2D6A55A}" type="datetimeFigureOut">
              <a:rPr lang="en-US" smtClean="0"/>
              <a:t>1/3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15BBEC-FCFA-104A-A502-D7EB7C34468A}" type="slidenum">
              <a:rPr lang="en-US" smtClean="0"/>
              <a:t>‹#›</a:t>
            </a:fld>
            <a:endParaRPr lang="en-US"/>
          </a:p>
        </p:txBody>
      </p:sp>
    </p:spTree>
    <p:extLst>
      <p:ext uri="{BB962C8B-B14F-4D97-AF65-F5344CB8AC3E}">
        <p14:creationId xmlns:p14="http://schemas.microsoft.com/office/powerpoint/2010/main" val="1669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byupathway.or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1</a:t>
            </a:fld>
            <a:endParaRPr lang="en-US"/>
          </a:p>
        </p:txBody>
      </p:sp>
    </p:spTree>
    <p:extLst>
      <p:ext uri="{BB962C8B-B14F-4D97-AF65-F5344CB8AC3E}">
        <p14:creationId xmlns:p14="http://schemas.microsoft.com/office/powerpoint/2010/main" val="1300984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3</a:t>
            </a:fld>
            <a:endParaRPr lang="en-US"/>
          </a:p>
        </p:txBody>
      </p:sp>
    </p:spTree>
    <p:extLst>
      <p:ext uri="{BB962C8B-B14F-4D97-AF65-F5344CB8AC3E}">
        <p14:creationId xmlns:p14="http://schemas.microsoft.com/office/powerpoint/2010/main" val="739231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4</a:t>
            </a:fld>
            <a:endParaRPr lang="en-US"/>
          </a:p>
        </p:txBody>
      </p:sp>
    </p:spTree>
    <p:extLst>
      <p:ext uri="{BB962C8B-B14F-4D97-AF65-F5344CB8AC3E}">
        <p14:creationId xmlns:p14="http://schemas.microsoft.com/office/powerpoint/2010/main" val="29973953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5</a:t>
            </a:fld>
            <a:endParaRPr lang="en-US"/>
          </a:p>
        </p:txBody>
      </p:sp>
    </p:spTree>
    <p:extLst>
      <p:ext uri="{BB962C8B-B14F-4D97-AF65-F5344CB8AC3E}">
        <p14:creationId xmlns:p14="http://schemas.microsoft.com/office/powerpoint/2010/main" val="1200752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6</a:t>
            </a:fld>
            <a:endParaRPr lang="en-US"/>
          </a:p>
        </p:txBody>
      </p:sp>
    </p:spTree>
    <p:extLst>
      <p:ext uri="{BB962C8B-B14F-4D97-AF65-F5344CB8AC3E}">
        <p14:creationId xmlns:p14="http://schemas.microsoft.com/office/powerpoint/2010/main" val="406814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7</a:t>
            </a:fld>
            <a:endParaRPr lang="en-US"/>
          </a:p>
        </p:txBody>
      </p:sp>
    </p:spTree>
    <p:extLst>
      <p:ext uri="{BB962C8B-B14F-4D97-AF65-F5344CB8AC3E}">
        <p14:creationId xmlns:p14="http://schemas.microsoft.com/office/powerpoint/2010/main" val="29960453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8</a:t>
            </a:fld>
            <a:endParaRPr lang="en-US"/>
          </a:p>
        </p:txBody>
      </p:sp>
    </p:spTree>
    <p:extLst>
      <p:ext uri="{BB962C8B-B14F-4D97-AF65-F5344CB8AC3E}">
        <p14:creationId xmlns:p14="http://schemas.microsoft.com/office/powerpoint/2010/main" val="3947839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9</a:t>
            </a:fld>
            <a:endParaRPr lang="en-US"/>
          </a:p>
        </p:txBody>
      </p:sp>
    </p:spTree>
    <p:extLst>
      <p:ext uri="{BB962C8B-B14F-4D97-AF65-F5344CB8AC3E}">
        <p14:creationId xmlns:p14="http://schemas.microsoft.com/office/powerpoint/2010/main" val="1905654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t>Cada aluno tem um caminho único para um diploma, e a BYU-Pathway fornece um caminho a seguir para cada um deles, independente das circunstâncias econômicas, culturais e pessoais.</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20</a:t>
            </a:fld>
            <a:endParaRPr lang="en-US"/>
          </a:p>
        </p:txBody>
      </p:sp>
    </p:spTree>
    <p:extLst>
      <p:ext uri="{BB962C8B-B14F-4D97-AF65-F5344CB8AC3E}">
        <p14:creationId xmlns:p14="http://schemas.microsoft.com/office/powerpoint/2010/main" val="1035067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1</a:t>
            </a:fld>
            <a:endParaRPr lang="en-US"/>
          </a:p>
        </p:txBody>
      </p:sp>
    </p:spTree>
    <p:extLst>
      <p:ext uri="{BB962C8B-B14F-4D97-AF65-F5344CB8AC3E}">
        <p14:creationId xmlns:p14="http://schemas.microsoft.com/office/powerpoint/2010/main" val="34994508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2</a:t>
            </a:fld>
            <a:endParaRPr lang="en-US"/>
          </a:p>
        </p:txBody>
      </p:sp>
    </p:spTree>
    <p:extLst>
      <p:ext uri="{BB962C8B-B14F-4D97-AF65-F5344CB8AC3E}">
        <p14:creationId xmlns:p14="http://schemas.microsoft.com/office/powerpoint/2010/main" val="155674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a:t>
            </a:fld>
            <a:endParaRPr lang="en-US"/>
          </a:p>
        </p:txBody>
      </p:sp>
    </p:spTree>
    <p:extLst>
      <p:ext uri="{BB962C8B-B14F-4D97-AF65-F5344CB8AC3E}">
        <p14:creationId xmlns:p14="http://schemas.microsoft.com/office/powerpoint/2010/main" val="29051338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defRPr>
                <a:solidFill>
                  <a:srgbClr val="2D2D2D"/>
                </a:solidFill>
                <a:latin typeface="Arvo"/>
              </a:defRPr>
            </a:pPr>
            <a:r>
              <a:rPr>
                <a:effectLst/>
              </a:rPr>
              <a:t>A BYU-Pathway está crescendo rapidamente, atendendo </a:t>
            </a:r>
            <a:r>
              <a:t>61.338 alunos em </a:t>
            </a:r>
            <a:r>
              <a:rPr>
                <a:effectLst/>
              </a:rPr>
              <a:t>2022, em</a:t>
            </a:r>
            <a:r>
              <a:t> todos os 50 estados e de mais de 180 países em todo o mundo.</a:t>
            </a:r>
            <a:endParaRPr lang="en-US" b="1">
              <a:solidFill>
                <a:srgbClr val="000000"/>
              </a:solidFill>
              <a:latin typeface="Calibri"/>
              <a:cs typeface="Calibri"/>
            </a:endParaRPr>
          </a:p>
          <a:p>
            <a:pPr marL="171450" indent="-171450">
              <a:buFont typeface="Calibri"/>
              <a:buChar char="-"/>
              <a:defRPr>
                <a:solidFill>
                  <a:srgbClr val="2D2D2D"/>
                </a:solidFill>
                <a:latin typeface="Arvo"/>
              </a:defRPr>
            </a:pPr>
            <a:r>
              <a:rPr>
                <a:effectLst/>
              </a:rPr>
              <a:t>Cada número nesse total representa um indivíduo com experiências, talentos e necessidades únicas – muitos dos quais anseiam por novas oportunidades e oram por milagres.</a:t>
            </a:r>
            <a:r>
              <a:t> </a:t>
            </a:r>
            <a:endParaRPr lang="en-US">
              <a:solidFill>
                <a:srgbClr val="000000"/>
              </a:solidFill>
              <a:latin typeface="Calibri" panose="020F0502020204030204"/>
              <a:cs typeface="Calibri"/>
            </a:endParaRPr>
          </a:p>
          <a:p>
            <a:pPr marL="171450" indent="-171450">
              <a:buFont typeface="Calibri"/>
              <a:buChar char="-"/>
              <a:defRPr/>
            </a:pPr>
            <a:r>
              <a:rPr>
                <a:solidFill>
                  <a:srgbClr val="2D2D2D"/>
                </a:solidFill>
                <a:latin typeface="Arvo"/>
              </a:rPr>
              <a:t>Um espírito especial de unidade existe na </a:t>
            </a:r>
            <a:r>
              <a:rPr u="sng">
                <a:effectLst/>
                <a:latin typeface="Open Sans"/>
                <a:ea typeface="Open Sans"/>
                <a:cs typeface="Open Sans"/>
                <a:hlinkClick r:id="rId3"/>
              </a:rPr>
              <a:t>BYU-Pathway Worldwide</a:t>
            </a:r>
            <a:r>
              <a:rPr>
                <a:solidFill>
                  <a:srgbClr val="58595B"/>
                </a:solidFill>
                <a:effectLst/>
                <a:latin typeface="Open Sans"/>
                <a:ea typeface="Open Sans"/>
                <a:cs typeface="Open Sans"/>
              </a:rPr>
              <a:t> </a:t>
            </a:r>
            <a:r>
              <a:rPr>
                <a:solidFill>
                  <a:srgbClr val="2D2D2D"/>
                </a:solidFill>
                <a:latin typeface="Arvo"/>
              </a:rPr>
              <a:t>à medida que estudantes de todo o mundo se reúnem e participam de cursos que incorporam os ensinamentos de Jesus Cristo.</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Consequentemente, a BYU-Pathway tem um papel único a desempenhar na construção de Sião.</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Mais informações disponíveis em: https://www.byupathway.org/annual-report-2022</a:t>
            </a: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23</a:t>
            </a:fld>
            <a:endParaRPr lang="en-US"/>
          </a:p>
        </p:txBody>
      </p:sp>
    </p:spTree>
    <p:extLst>
      <p:ext uri="{BB962C8B-B14F-4D97-AF65-F5344CB8AC3E}">
        <p14:creationId xmlns:p14="http://schemas.microsoft.com/office/powerpoint/2010/main" val="128284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4</a:t>
            </a:fld>
            <a:endParaRPr lang="en-US"/>
          </a:p>
        </p:txBody>
      </p:sp>
    </p:spTree>
    <p:extLst>
      <p:ext uri="{BB962C8B-B14F-4D97-AF65-F5344CB8AC3E}">
        <p14:creationId xmlns:p14="http://schemas.microsoft.com/office/powerpoint/2010/main" val="19685286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5</a:t>
            </a:fld>
            <a:endParaRPr lang="en-US"/>
          </a:p>
        </p:txBody>
      </p:sp>
    </p:spTree>
    <p:extLst>
      <p:ext uri="{BB962C8B-B14F-4D97-AF65-F5344CB8AC3E}">
        <p14:creationId xmlns:p14="http://schemas.microsoft.com/office/powerpoint/2010/main" val="17391170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6</a:t>
            </a:fld>
            <a:endParaRPr lang="en-US"/>
          </a:p>
        </p:txBody>
      </p:sp>
    </p:spTree>
    <p:extLst>
      <p:ext uri="{BB962C8B-B14F-4D97-AF65-F5344CB8AC3E}">
        <p14:creationId xmlns:p14="http://schemas.microsoft.com/office/powerpoint/2010/main" val="879864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7</a:t>
            </a:fld>
            <a:endParaRPr lang="en-US"/>
          </a:p>
        </p:txBody>
      </p:sp>
    </p:spTree>
    <p:extLst>
      <p:ext uri="{BB962C8B-B14F-4D97-AF65-F5344CB8AC3E}">
        <p14:creationId xmlns:p14="http://schemas.microsoft.com/office/powerpoint/2010/main" val="1369005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8</a:t>
            </a:fld>
            <a:endParaRPr lang="en-US"/>
          </a:p>
        </p:txBody>
      </p:sp>
    </p:spTree>
    <p:extLst>
      <p:ext uri="{BB962C8B-B14F-4D97-AF65-F5344CB8AC3E}">
        <p14:creationId xmlns:p14="http://schemas.microsoft.com/office/powerpoint/2010/main" val="30652782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Nota: você também pode providenciar para que um ex-aluno ou atual da BYU-Pathway compartilhe seu testemunho/experiência e/ou compartilhe seu próprio testemunho sobre a importância da educação.Considere fornecer folhetos aos participantes para que eles possam aprender mais e/ou compartilhar com outras pessoas.Você pode encontrar recursos em byupathway.org/marketing-resources].</a:t>
            </a:r>
            <a:endParaRPr lang="en-US">
              <a:cs typeface="Calibri"/>
            </a:endParaRP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9</a:t>
            </a:fld>
            <a:endParaRPr lang="en-US"/>
          </a:p>
        </p:txBody>
      </p:sp>
    </p:spTree>
    <p:extLst>
      <p:ext uri="{BB962C8B-B14F-4D97-AF65-F5344CB8AC3E}">
        <p14:creationId xmlns:p14="http://schemas.microsoft.com/office/powerpoint/2010/main" val="12990583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0</a:t>
            </a:fld>
            <a:endParaRPr lang="en-US"/>
          </a:p>
        </p:txBody>
      </p:sp>
    </p:spTree>
    <p:extLst>
      <p:ext uri="{BB962C8B-B14F-4D97-AF65-F5344CB8AC3E}">
        <p14:creationId xmlns:p14="http://schemas.microsoft.com/office/powerpoint/2010/main" val="41546857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t>[NOTA: Os cinco slides a seguir podem ser apresentados ao compartilhar com os líderes da Igreja.É essencial que os líderes da Igreja entendam como o BYU-Pathway pode servir como uma ferramenta poderosa em seus esforços de ministraçã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a:defRPr/>
            </a:pPr>
            <a:r>
              <a:t>Por que o presidente Russell M. Nelson afirmou que a BYU-Pathway é única no mundo? Uma razão é porque a BYU-Pathway Worldwide é uma organização de ensino superior com a missão de "desenvolver discípulos de Jesus Cristo que são líderes em seus lares, na Igreja e em suas comunidades". Assim, os alunos que participam do BYU-Pathway levam o evangelho de Jesus Cristo para dentro de seus corações, tornam-se aprendizes capazes e se preparam para liderar e apoiar suas famílias.  </a:t>
            </a: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1</a:t>
            </a:fld>
            <a:endParaRPr lang="en-US"/>
          </a:p>
        </p:txBody>
      </p:sp>
    </p:spTree>
    <p:extLst>
      <p:ext uri="{BB962C8B-B14F-4D97-AF65-F5344CB8AC3E}">
        <p14:creationId xmlns:p14="http://schemas.microsoft.com/office/powerpoint/2010/main" val="16828481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2</a:t>
            </a:fld>
            <a:endParaRPr lang="en-US"/>
          </a:p>
        </p:txBody>
      </p:sp>
    </p:spTree>
    <p:extLst>
      <p:ext uri="{BB962C8B-B14F-4D97-AF65-F5344CB8AC3E}">
        <p14:creationId xmlns:p14="http://schemas.microsoft.com/office/powerpoint/2010/main" val="37291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4</a:t>
            </a:fld>
            <a:endParaRPr lang="en-US"/>
          </a:p>
        </p:txBody>
      </p:sp>
    </p:spTree>
    <p:extLst>
      <p:ext uri="{BB962C8B-B14F-4D97-AF65-F5344CB8AC3E}">
        <p14:creationId xmlns:p14="http://schemas.microsoft.com/office/powerpoint/2010/main" val="7379042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3</a:t>
            </a:fld>
            <a:endParaRPr lang="en-US"/>
          </a:p>
        </p:txBody>
      </p:sp>
    </p:spTree>
    <p:extLst>
      <p:ext uri="{BB962C8B-B14F-4D97-AF65-F5344CB8AC3E}">
        <p14:creationId xmlns:p14="http://schemas.microsoft.com/office/powerpoint/2010/main" val="23521339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4</a:t>
            </a:fld>
            <a:endParaRPr lang="en-US"/>
          </a:p>
        </p:txBody>
      </p:sp>
    </p:spTree>
    <p:extLst>
      <p:ext uri="{BB962C8B-B14F-4D97-AF65-F5344CB8AC3E}">
        <p14:creationId xmlns:p14="http://schemas.microsoft.com/office/powerpoint/2010/main" val="1896584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35</a:t>
            </a:fld>
            <a:endParaRPr lang="en-US"/>
          </a:p>
        </p:txBody>
      </p:sp>
    </p:spTree>
    <p:extLst>
      <p:ext uri="{BB962C8B-B14F-4D97-AF65-F5344CB8AC3E}">
        <p14:creationId xmlns:p14="http://schemas.microsoft.com/office/powerpoint/2010/main" val="12400232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640BCA-202F-3B49-8F50-ED6A5FE587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4321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640BCA-202F-3B49-8F50-ED6A5FE587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455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sz="1200"/>
              <a:t>Os certificados ensinam habilidades profissionais comercializáveis que podem melhorar o emprego.</a:t>
            </a:r>
            <a:r>
              <a:t> </a:t>
            </a:r>
            <a:endParaRPr lang="en-US" sz="1200"/>
          </a:p>
          <a:p>
            <a:pPr>
              <a:lnSpc>
                <a:spcPct val="110000"/>
              </a:lnSpc>
            </a:pPr>
            <a:endParaRPr lang="en-US" sz="1200"/>
          </a:p>
          <a:p>
            <a:pPr>
              <a:lnSpc>
                <a:spcPct val="110000"/>
              </a:lnSpc>
            </a:pPr>
            <a:r>
              <a:rPr sz="1200"/>
              <a:t>Os certificados são </a:t>
            </a:r>
            <a:r>
              <a:t>normalmente</a:t>
            </a:r>
            <a:r>
              <a:rPr sz="1200"/>
              <a:t> compostos de </a:t>
            </a:r>
            <a:r>
              <a:t>5 a 6</a:t>
            </a:r>
            <a:r>
              <a:rPr sz="1200"/>
              <a:t> cursos, e cada certificado </a:t>
            </a:r>
            <a:r>
              <a:rPr sz="1200" b="1">
                <a:solidFill>
                  <a:srgbClr val="3A929D"/>
                </a:solidFill>
              </a:rPr>
              <a:t>pode ser concluído em um ano ou menos</a:t>
            </a:r>
            <a:r>
              <a:rPr sz="1200"/>
              <a:t>.</a:t>
            </a:r>
            <a:endParaRPr lang="en-US">
              <a:ea typeface="Calibri"/>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5</a:t>
            </a:fld>
            <a:endParaRPr lang="en-US"/>
          </a:p>
        </p:txBody>
      </p:sp>
    </p:spTree>
    <p:extLst>
      <p:ext uri="{BB962C8B-B14F-4D97-AF65-F5344CB8AC3E}">
        <p14:creationId xmlns:p14="http://schemas.microsoft.com/office/powerpoint/2010/main" val="1421015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7</a:t>
            </a:fld>
            <a:endParaRPr lang="en-US"/>
          </a:p>
        </p:txBody>
      </p:sp>
    </p:spTree>
    <p:extLst>
      <p:ext uri="{BB962C8B-B14F-4D97-AF65-F5344CB8AC3E}">
        <p14:creationId xmlns:p14="http://schemas.microsoft.com/office/powerpoint/2010/main" val="1319553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8</a:t>
            </a:fld>
            <a:endParaRPr lang="en-US"/>
          </a:p>
        </p:txBody>
      </p:sp>
    </p:spTree>
    <p:extLst>
      <p:ext uri="{BB962C8B-B14F-4D97-AF65-F5344CB8AC3E}">
        <p14:creationId xmlns:p14="http://schemas.microsoft.com/office/powerpoint/2010/main" val="2775584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u="none" strike="noStrike">
              <a:effectLst/>
              <a:latin typeface="+mj-lt"/>
              <a:ea typeface="Arial" panose="020B0604020202020204" pitchFamily="34" charset="0"/>
            </a:endParaRPr>
          </a:p>
        </p:txBody>
      </p:sp>
      <p:sp>
        <p:nvSpPr>
          <p:cNvPr id="4" name="Slide Number Placeholder 3"/>
          <p:cNvSpPr>
            <a:spLocks noGrp="1"/>
          </p:cNvSpPr>
          <p:nvPr>
            <p:ph type="sldNum" sz="quarter" idx="5"/>
          </p:nvPr>
        </p:nvSpPr>
        <p:spPr/>
        <p:txBody>
          <a:bodyPr/>
          <a:lstStyle/>
          <a:p>
            <a:fld id="{A423D855-7AB7-AC46-905D-9613FF3E6A59}" type="slidenum">
              <a:rPr lang="en-US" smtClean="0"/>
              <a:t>10</a:t>
            </a:fld>
            <a:endParaRPr lang="en-US"/>
          </a:p>
        </p:txBody>
      </p:sp>
    </p:spTree>
    <p:extLst>
      <p:ext uri="{BB962C8B-B14F-4D97-AF65-F5344CB8AC3E}">
        <p14:creationId xmlns:p14="http://schemas.microsoft.com/office/powerpoint/2010/main" val="1155795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t>Jonathon </a:t>
            </a:r>
            <a:r>
              <a:rPr>
                <a:solidFill>
                  <a:srgbClr val="000000"/>
                </a:solidFill>
              </a:rPr>
              <a:t>Ordillas</a:t>
            </a:r>
          </a:p>
          <a:p>
            <a:pPr marL="285750" indent="-285750">
              <a:buFont typeface="Calibri"/>
              <a:buChar char="-"/>
            </a:pPr>
            <a:r>
              <a:rPr>
                <a:latin typeface="Calibri Light"/>
                <a:cs typeface="Calibri Light"/>
              </a:rPr>
              <a:t>Vive</a:t>
            </a:r>
            <a:r>
              <a:rPr sz="1200">
                <a:effectLst/>
                <a:latin typeface="+mj-lt"/>
                <a:ea typeface="Arial" panose="020B0604020202020204" pitchFamily="34" charset="0"/>
              </a:rPr>
              <a:t> nas Filipinas</a:t>
            </a:r>
            <a:endParaRPr lang="en-US" sz="1200">
              <a:latin typeface="+mj-lt"/>
              <a:ea typeface="Arial" panose="020B0604020202020204" pitchFamily="34" charset="0"/>
              <a:cs typeface="Calibri Light"/>
            </a:endParaRPr>
          </a:p>
          <a:p>
            <a:pPr marL="285750" indent="-285750">
              <a:lnSpc>
                <a:spcPct val="115000"/>
              </a:lnSpc>
              <a:buFont typeface="Calibri"/>
              <a:buChar char="-"/>
              <a:defRPr sz="1200">
                <a:effectLst/>
                <a:latin typeface="+mj-lt"/>
                <a:ea typeface="Arial" panose="020B0604020202020204" pitchFamily="34" charset="0"/>
              </a:defRPr>
            </a:pPr>
            <a:r>
              <a:t>Voltou de sua missão e encontrou seu pai que perdeu o emprego e sua família que estava lutando com dívidas</a:t>
            </a:r>
            <a:endParaRPr lang="en-US" sz="1200" u="none" strike="noStrike">
              <a:effectLst/>
              <a:latin typeface="+mj-lt"/>
              <a:ea typeface="Arial" panose="020B0604020202020204" pitchFamily="34" charset="0"/>
              <a:cs typeface="Calibri Light"/>
            </a:endParaRPr>
          </a:p>
          <a:p>
            <a:pPr marL="285750" indent="-285750">
              <a:lnSpc>
                <a:spcPct val="115000"/>
              </a:lnSpc>
              <a:buFont typeface="Calibri"/>
              <a:buChar char="-"/>
              <a:defRPr>
                <a:latin typeface="+mj-lt"/>
                <a:ea typeface="Arial" panose="020B0604020202020204" pitchFamily="34" charset="0"/>
              </a:defRPr>
            </a:pPr>
            <a:r>
              <a:rPr sz="1200"/>
              <a:t>Matriculou-se na BYU-Pathway e começou a </a:t>
            </a:r>
            <a:r>
              <a:t>cursar</a:t>
            </a:r>
            <a:r>
              <a:rPr sz="1200"/>
              <a:t> tecnologia </a:t>
            </a:r>
            <a:r>
              <a:t>da informação</a:t>
            </a:r>
            <a:r>
              <a:rPr sz="1200"/>
              <a:t> </a:t>
            </a:r>
            <a:endParaRPr lang="en-US" sz="1200">
              <a:latin typeface="+mj-lt"/>
              <a:ea typeface="Arial" panose="020B0604020202020204" pitchFamily="34" charset="0"/>
              <a:cs typeface="Calibri Light"/>
            </a:endParaRPr>
          </a:p>
          <a:p>
            <a:pPr marL="285750" indent="-285750">
              <a:lnSpc>
                <a:spcPct val="115000"/>
              </a:lnSpc>
              <a:buFont typeface="Calibri"/>
              <a:buChar char="-"/>
              <a:defRPr sz="1200">
                <a:effectLst/>
                <a:latin typeface="+mj-lt"/>
                <a:ea typeface="Arial" panose="020B0604020202020204" pitchFamily="34" charset="0"/>
              </a:defRPr>
            </a:pPr>
            <a:r>
              <a:t>Obteve uma posição de pesquisa de mercado na Clear Insights através de sua conexão com a BYU-Pathway</a:t>
            </a:r>
            <a:endParaRPr lang="en-US" sz="1200" u="none" strike="noStrike">
              <a:effectLst/>
              <a:latin typeface="+mj-lt"/>
              <a:ea typeface="Arial" panose="020B0604020202020204" pitchFamily="34" charset="0"/>
              <a:cs typeface="Calibri Light"/>
            </a:endParaRPr>
          </a:p>
          <a:p>
            <a:pPr marL="285750" indent="-285750">
              <a:lnSpc>
                <a:spcPct val="115000"/>
              </a:lnSpc>
              <a:buFont typeface="Calibri"/>
              <a:buChar char="-"/>
              <a:defRPr sz="1200">
                <a:latin typeface="+mj-lt"/>
                <a:ea typeface="Arial" panose="020B0604020202020204" pitchFamily="34" charset="0"/>
              </a:defRPr>
            </a:pPr>
            <a:r>
              <a:t>Agora está ganhando o triplo do salário mínimo nas Filipinas</a:t>
            </a:r>
            <a:endParaRPr lang="en-US" sz="1200" u="none" strike="noStrike">
              <a:effectLst/>
              <a:latin typeface="+mj-lt"/>
              <a:ea typeface="Arial" panose="020B0604020202020204" pitchFamily="34" charset="0"/>
              <a:cs typeface="Calibri Light"/>
            </a:endParaRPr>
          </a:p>
          <a:p>
            <a:pPr marL="285750" indent="-285750">
              <a:lnSpc>
                <a:spcPct val="115000"/>
              </a:lnSpc>
              <a:buFont typeface="Calibri"/>
              <a:buChar char="-"/>
              <a:defRPr>
                <a:latin typeface="+mj-lt"/>
                <a:ea typeface="Arial" panose="020B0604020202020204" pitchFamily="34" charset="0"/>
              </a:defRPr>
            </a:pPr>
            <a:r>
              <a:rPr sz="1200"/>
              <a:t>A apenas alguns meses de terminar seu primeiro certificado como engenheiro de </a:t>
            </a:r>
            <a:r>
              <a:t>suporte</a:t>
            </a:r>
            <a:r>
              <a:rPr sz="1200"/>
              <a:t> </a:t>
            </a:r>
            <a:r>
              <a:t>técnico</a:t>
            </a:r>
            <a:r>
              <a:rPr sz="1200"/>
              <a:t> </a:t>
            </a:r>
            <a:endParaRPr lang="en-US" sz="1200" u="none" strike="noStrike">
              <a:effectLst/>
              <a:latin typeface="+mj-lt"/>
              <a:ea typeface="Arial" panose="020B0604020202020204" pitchFamily="34" charset="0"/>
              <a:cs typeface="Calibri Light"/>
            </a:endParaRP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1</a:t>
            </a:fld>
            <a:endParaRPr lang="en-US"/>
          </a:p>
        </p:txBody>
      </p:sp>
    </p:spTree>
    <p:extLst>
      <p:ext uri="{BB962C8B-B14F-4D97-AF65-F5344CB8AC3E}">
        <p14:creationId xmlns:p14="http://schemas.microsoft.com/office/powerpoint/2010/main" val="1929790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t>Chris Blount</a:t>
            </a:r>
            <a:endParaRPr lang="en-US"/>
          </a:p>
          <a:p>
            <a:pPr marL="171450" indent="-171450">
              <a:buFont typeface="Calibri"/>
              <a:buChar char="-"/>
              <a:defRPr>
                <a:solidFill>
                  <a:srgbClr val="2D2D2D"/>
                </a:solidFill>
                <a:latin typeface="Arvo"/>
              </a:defRPr>
            </a:pPr>
            <a:r>
              <a:t>De Florida, USA</a:t>
            </a:r>
          </a:p>
          <a:p>
            <a:pPr marL="171450" indent="-171450">
              <a:buFont typeface="Calibri"/>
              <a:buChar char="-"/>
              <a:defRPr>
                <a:solidFill>
                  <a:srgbClr val="2D2D2D"/>
                </a:solidFill>
                <a:latin typeface="Arvo"/>
              </a:defRPr>
            </a:pPr>
            <a:r>
              <a:rPr>
                <a:effectLst/>
              </a:rPr>
              <a:t>Quando estava na Marinha dos EUA, Chris começou a cursar uma universidade em </a:t>
            </a:r>
            <a:r>
              <a:t>negócios internacionais</a:t>
            </a:r>
            <a:r>
              <a:rPr>
                <a:effectLst/>
              </a:rPr>
              <a:t> para se tornar um oficial</a:t>
            </a:r>
            <a:r>
              <a:t>, mas </a:t>
            </a:r>
            <a:r>
              <a:rPr>
                <a:effectLst/>
              </a:rPr>
              <a:t>esse não era seu verdadeiro interesse.</a:t>
            </a:r>
            <a:r>
              <a:t> </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a:t>
            </a:r>
            <a:r>
              <a:rPr>
                <a:effectLst/>
              </a:rPr>
              <a:t>Eu não levava a escola muito a sério, porque não estudava nada pelo qual eu fosse apaixonado</a:t>
            </a:r>
            <a:r>
              <a:t>."</a:t>
            </a:r>
            <a:endParaRPr lang="en-US">
              <a:solidFill>
                <a:srgbClr val="000000"/>
              </a:solidFill>
              <a:latin typeface="Calibri" panose="020F0502020204030204"/>
              <a:cs typeface="Calibri"/>
            </a:endParaRPr>
          </a:p>
          <a:p>
            <a:pPr marL="171450" indent="-171450">
              <a:buFont typeface="Calibri"/>
              <a:buChar char="-"/>
              <a:defRPr>
                <a:solidFill>
                  <a:srgbClr val="2D2D2D"/>
                </a:solidFill>
                <a:effectLst/>
                <a:latin typeface="Arvo"/>
              </a:defRPr>
            </a:pPr>
            <a:r>
              <a:t>Quando Chris perdeu o emprego em 2018, ele teve a oportunidade de explorar novas opções, incluindo desenvolvimento de web.</a:t>
            </a:r>
            <a:endParaRPr lang="en-US">
              <a:solidFill>
                <a:srgbClr val="000000"/>
              </a:solidFill>
              <a:latin typeface="Calibri" panose="020F0502020204030204"/>
              <a:cs typeface="Calibri"/>
            </a:endParaRPr>
          </a:p>
          <a:p>
            <a:pPr marL="171450" indent="-171450">
              <a:buFont typeface="Calibri"/>
              <a:buChar char="-"/>
              <a:defRPr>
                <a:solidFill>
                  <a:srgbClr val="2D2D2D"/>
                </a:solidFill>
                <a:effectLst/>
                <a:latin typeface="Arvo"/>
              </a:defRPr>
            </a:pPr>
            <a:r>
              <a:t>Um panfleto em um quadro de avisos em sua ala o apresentou a BYU-Pathway, e seu caminho para uma nova carreira foi lançado.</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rPr>
                <a:effectLst/>
              </a:rPr>
              <a:t>Chris </a:t>
            </a:r>
            <a:r>
              <a:t>havia sido batizado</a:t>
            </a:r>
            <a:r>
              <a:rPr>
                <a:effectLst/>
              </a:rPr>
              <a:t> como membro de A Igreja de Jesus Cristo dos Santos dos Últimos Dias </a:t>
            </a:r>
            <a:r>
              <a:t>em</a:t>
            </a:r>
            <a:r>
              <a:rPr>
                <a:effectLst/>
              </a:rPr>
              <a:t> 2014, então frequentar o instituto </a:t>
            </a:r>
            <a:r>
              <a:t>o ajudou a aprender muito sobre a Igreja e as escrituras.</a:t>
            </a: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12</a:t>
            </a:fld>
            <a:endParaRPr lang="en-US"/>
          </a:p>
        </p:txBody>
      </p:sp>
    </p:spTree>
    <p:extLst>
      <p:ext uri="{BB962C8B-B14F-4D97-AF65-F5344CB8AC3E}">
        <p14:creationId xmlns:p14="http://schemas.microsoft.com/office/powerpoint/2010/main" val="6512438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6.emf"/></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hoto / Small Quote (Gold)">
    <p:spTree>
      <p:nvGrpSpPr>
        <p:cNvPr id="1" name=""/>
        <p:cNvGrpSpPr/>
        <p:nvPr/>
      </p:nvGrpSpPr>
      <p:grpSpPr>
        <a:xfrm>
          <a:off x="0" y="0"/>
          <a:ext cx="0" cy="0"/>
          <a:chOff x="0" y="0"/>
          <a:chExt cx="0" cy="0"/>
        </a:xfrm>
      </p:grpSpPr>
      <p:sp>
        <p:nvSpPr>
          <p:cNvPr id="9" name="Rectangle 8"/>
          <p:cNvSpPr/>
          <p:nvPr userDrawn="1"/>
        </p:nvSpPr>
        <p:spPr>
          <a:xfrm>
            <a:off x="-134911" y="-89940"/>
            <a:ext cx="3097567" cy="7015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529335" y="1422484"/>
            <a:ext cx="2866642" cy="40130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6" name="Text Placeholder 15"/>
          <p:cNvSpPr>
            <a:spLocks noGrp="1"/>
          </p:cNvSpPr>
          <p:nvPr>
            <p:ph type="body" sz="quarter" idx="13" hasCustomPrompt="1"/>
          </p:nvPr>
        </p:nvSpPr>
        <p:spPr>
          <a:xfrm>
            <a:off x="5321508" y="1422484"/>
            <a:ext cx="6206572" cy="3228343"/>
          </a:xfrm>
        </p:spPr>
        <p:txBody>
          <a:bodyPr anchor="ctr">
            <a:normAutofit/>
          </a:bodyPr>
          <a:lstStyle>
            <a:lvl1pPr marL="0" indent="0">
              <a:lnSpc>
                <a:spcPct val="100000"/>
              </a:lnSpc>
              <a:buNone/>
              <a:defRPr sz="2800">
                <a:latin typeface="+mj-lt"/>
              </a:defRPr>
            </a:lvl1pPr>
            <a:lvl2pPr marL="182880" indent="0">
              <a:spcBef>
                <a:spcPts val="3500"/>
              </a:spcBef>
              <a:buNone/>
              <a:defRPr i="1">
                <a:latin typeface="+mj-lt"/>
              </a:defRPr>
            </a:lvl2pPr>
          </a:lstStyle>
          <a:p>
            <a:pPr lvl="0"/>
            <a:r>
              <a:rPr lang="en-US"/>
              <a:t>“Quote.”</a:t>
            </a:r>
          </a:p>
        </p:txBody>
      </p:sp>
      <p:sp>
        <p:nvSpPr>
          <p:cNvPr id="4" name="Text Placeholder 3"/>
          <p:cNvSpPr>
            <a:spLocks noGrp="1"/>
          </p:cNvSpPr>
          <p:nvPr>
            <p:ph type="body" sz="quarter" idx="15" hasCustomPrompt="1"/>
          </p:nvPr>
        </p:nvSpPr>
        <p:spPr>
          <a:xfrm>
            <a:off x="5321300" y="4929352"/>
            <a:ext cx="6207125" cy="506248"/>
          </a:xfrm>
        </p:spPr>
        <p:txBody>
          <a:bodyPr>
            <a:normAutofit/>
          </a:bodyPr>
          <a:lstStyle>
            <a:lvl1pPr marL="4763" indent="0">
              <a:lnSpc>
                <a:spcPct val="100000"/>
              </a:lnSpc>
              <a:spcBef>
                <a:spcPts val="0"/>
              </a:spcBef>
              <a:buNone/>
              <a:tabLst/>
              <a:defRPr sz="1600" spc="100" baseline="0">
                <a:solidFill>
                  <a:schemeClr val="tx2">
                    <a:lumMod val="75000"/>
                    <a:lumOff val="25000"/>
                  </a:schemeClr>
                </a:solidFill>
                <a:latin typeface="+mj-lt"/>
              </a:defRPr>
            </a:lvl1pPr>
            <a:lvl2pPr marL="4763" indent="0">
              <a:lnSpc>
                <a:spcPct val="100000"/>
              </a:lnSpc>
              <a:spcBef>
                <a:spcPts val="0"/>
              </a:spcBef>
              <a:buNone/>
              <a:tabLst/>
              <a:defRPr sz="1600" i="1">
                <a:solidFill>
                  <a:schemeClr val="tx2">
                    <a:lumMod val="50000"/>
                    <a:lumOff val="50000"/>
                  </a:schemeClr>
                </a:solidFill>
                <a:latin typeface="+mj-lt"/>
              </a:defRPr>
            </a:lvl2pPr>
          </a:lstStyle>
          <a:p>
            <a:pPr lvl="0"/>
            <a:r>
              <a:rPr lang="en-US"/>
              <a:t>NAME</a:t>
            </a:r>
          </a:p>
          <a:p>
            <a:pPr lvl="1"/>
            <a:r>
              <a:rPr lang="en-US"/>
              <a:t>Attribution</a:t>
            </a:r>
          </a:p>
        </p:txBody>
      </p:sp>
      <p:sp>
        <p:nvSpPr>
          <p:cNvPr id="10" name="Slide Number Placeholder 5">
            <a:extLst>
              <a:ext uri="{FF2B5EF4-FFF2-40B4-BE49-F238E27FC236}">
                <a16:creationId xmlns:a16="http://schemas.microsoft.com/office/drawing/2014/main" id="{E26A8BBF-3621-614E-A8BD-63CAF9A756D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8" name="Rectangle 7">
            <a:extLst>
              <a:ext uri="{FF2B5EF4-FFF2-40B4-BE49-F238E27FC236}">
                <a16:creationId xmlns:a16="http://schemas.microsoft.com/office/drawing/2014/main" id="{BE74E902-04FB-F74E-8524-8E36EEAF268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FE5B02F-84B2-374D-A5F1-4AEF59DF76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185341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2891D32A-21E9-02EB-DAAD-CED32F313B7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3160" y="740314"/>
            <a:ext cx="2220647" cy="1382239"/>
          </a:xfrm>
          <a:prstGeom prst="rect">
            <a:avLst/>
          </a:prstGeom>
        </p:spPr>
      </p:pic>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30675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3CD76B4-22F5-3E47-AA52-453C44E95AB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6616" y="4892040"/>
            <a:ext cx="1464537" cy="1025421"/>
          </a:xfrm>
          <a:prstGeom prst="rect">
            <a:avLst/>
          </a:prstGeom>
        </p:spPr>
      </p:pic>
    </p:spTree>
    <p:extLst>
      <p:ext uri="{BB962C8B-B14F-4D97-AF65-F5344CB8AC3E}">
        <p14:creationId xmlns:p14="http://schemas.microsoft.com/office/powerpoint/2010/main" val="171755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5293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lvl1pPr>
              <a:buNone/>
              <a:defRPr sz="2400"/>
            </a:lvl1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B775829-8C77-2C40-91ED-842FD4C9513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2858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8756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08222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60438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1141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88074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43306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BCA1DC40-FDAC-B940-A9B4-B7907DF4D8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sp>
        <p:nvSpPr>
          <p:cNvPr id="13" name="Slide Number Placeholder 5">
            <a:extLst>
              <a:ext uri="{FF2B5EF4-FFF2-40B4-BE49-F238E27FC236}">
                <a16:creationId xmlns:a16="http://schemas.microsoft.com/office/drawing/2014/main" id="{45512968-4978-084F-B07F-3A66CB132140}"/>
              </a:ext>
            </a:extLst>
          </p:cNvPr>
          <p:cNvSpPr>
            <a:spLocks noGrp="1"/>
          </p:cNvSpPr>
          <p:nvPr>
            <p:ph type="sldNum" sz="quarter" idx="12"/>
          </p:nvPr>
        </p:nvSpPr>
        <p:spPr>
          <a:xfrm>
            <a:off x="9043208" y="6336030"/>
            <a:ext cx="2549352" cy="365125"/>
          </a:xfrm>
        </p:spPr>
        <p:txBody>
          <a:bodyPr/>
          <a:lstStyle/>
          <a:p>
            <a:fld id="{6DD660AA-F4B9-9E4A-970E-DF14D91E0EC0}" type="slidenum">
              <a:rPr lang="en-US" smtClean="0"/>
              <a:t>‹#›</a:t>
            </a:fld>
            <a:endParaRPr lang="en-US"/>
          </a:p>
        </p:txBody>
      </p:sp>
    </p:spTree>
    <p:extLst>
      <p:ext uri="{BB962C8B-B14F-4D97-AF65-F5344CB8AC3E}">
        <p14:creationId xmlns:p14="http://schemas.microsoft.com/office/powerpoint/2010/main" val="400938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45860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2126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95664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4309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26542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96078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19350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30675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90372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wo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BCA1DC40-FDAC-B940-A9B4-B7907DF4D86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D86E4034-9D61-EC4D-A877-769A880B9CE3}"/>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
        <p:nvSpPr>
          <p:cNvPr id="11" name="Content Placeholder 2">
            <a:extLst>
              <a:ext uri="{FF2B5EF4-FFF2-40B4-BE49-F238E27FC236}">
                <a16:creationId xmlns:a16="http://schemas.microsoft.com/office/drawing/2014/main" id="{5664BBB1-950C-3F47-9EAE-2C41ACD6BDEB}"/>
              </a:ext>
            </a:extLst>
          </p:cNvPr>
          <p:cNvSpPr>
            <a:spLocks noGrp="1"/>
          </p:cNvSpPr>
          <p:nvPr>
            <p:ph sz="half" idx="14"/>
          </p:nvPr>
        </p:nvSpPr>
        <p:spPr>
          <a:xfrm>
            <a:off x="617812" y="158687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2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orient="horz" pos="3912" userDrawn="1">
          <p15:clr>
            <a:srgbClr val="FBAE40"/>
          </p15:clr>
        </p15:guide>
        <p15:guide id="4" pos="7296"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3932DE-E5D4-BC4D-BF53-046E2F877CF3}"/>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5" name="Picture 11">
            <a:extLst>
              <a:ext uri="{FF2B5EF4-FFF2-40B4-BE49-F238E27FC236}">
                <a16:creationId xmlns:a16="http://schemas.microsoft.com/office/drawing/2014/main" id="{CCE1327B-D819-4F42-A28E-6506B8207F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284108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2" y="2121"/>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122" y="2121"/>
                        <a:ext cx="2116" cy="2116"/>
                      </a:xfrm>
                      <a:prstGeom prst="rect">
                        <a:avLst/>
                      </a:prstGeom>
                    </p:spPr>
                  </p:pic>
                </p:oleObj>
              </mc:Fallback>
            </mc:AlternateContent>
          </a:graphicData>
        </a:graphic>
      </p:graphicFrame>
      <p:sp>
        <p:nvSpPr>
          <p:cNvPr id="10" name="Rectangle 4"/>
          <p:cNvSpPr>
            <a:spLocks noGrp="1" noChangeArrowheads="1"/>
          </p:cNvSpPr>
          <p:nvPr>
            <p:ph type="title" hasCustomPrompt="1"/>
          </p:nvPr>
        </p:nvSpPr>
        <p:spPr bwMode="gray">
          <a:xfrm>
            <a:off x="390144" y="305272"/>
            <a:ext cx="11362944" cy="488929"/>
          </a:xfrm>
          <a:prstGeom prst="rect">
            <a:avLst/>
          </a:prstGeom>
          <a:noFill/>
          <a:ln w="9525" algn="ctr">
            <a:noFill/>
            <a:miter lim="800000"/>
            <a:headEnd/>
            <a:tailEnd/>
          </a:ln>
        </p:spPr>
        <p:txBody>
          <a:bodyPr vert="horz" wrap="square" lIns="0" tIns="91194" rIns="91194" bIns="45597" numCol="1" anchor="b" anchorCtr="0" compatLnSpc="1">
            <a:prstTxWarp prst="textNoShape">
              <a:avLst/>
            </a:prstTxWarp>
            <a:spAutoFit/>
          </a:bodyPr>
          <a:lstStyle>
            <a:lvl1pPr>
              <a:defRPr sz="2533" b="1">
                <a:solidFill>
                  <a:schemeClr val="tx1">
                    <a:lumMod val="85000"/>
                    <a:lumOff val="15000"/>
                  </a:schemeClr>
                </a:solidFill>
              </a:defRPr>
            </a:lvl1pPr>
          </a:lstStyle>
          <a:p>
            <a:pPr lvl="0"/>
            <a:r>
              <a:rPr lang="en-US"/>
              <a:t>Slide lead</a:t>
            </a:r>
          </a:p>
        </p:txBody>
      </p:sp>
      <p:sp>
        <p:nvSpPr>
          <p:cNvPr id="4" name="StickerRectangle"/>
          <p:cNvSpPr>
            <a:spLocks noChangeArrowheads="1"/>
          </p:cNvSpPr>
          <p:nvPr userDrawn="1"/>
        </p:nvSpPr>
        <p:spPr bwMode="gray">
          <a:xfrm>
            <a:off x="4954364" y="6595351"/>
            <a:ext cx="2268312" cy="14356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36575" tIns="0" rIns="0" bIns="0">
            <a:spAutoFit/>
          </a:bodyPr>
          <a:lstStyle/>
          <a:p>
            <a:pPr algn="r" defTabSz="1166070">
              <a:buClr>
                <a:srgbClr val="F5824F"/>
              </a:buClr>
            </a:pPr>
            <a:r>
              <a:rPr lang="en-US" sz="933">
                <a:solidFill>
                  <a:srgbClr val="808080">
                    <a:alpha val="49000"/>
                  </a:srgbClr>
                </a:solidFill>
                <a:latin typeface="Arial"/>
              </a:rPr>
              <a:t>CONFIDENTIAL – DO NOT DISTRIBUTE</a:t>
            </a:r>
          </a:p>
        </p:txBody>
      </p:sp>
    </p:spTree>
    <p:extLst>
      <p:ext uri="{BB962C8B-B14F-4D97-AF65-F5344CB8AC3E}">
        <p14:creationId xmlns:p14="http://schemas.microsoft.com/office/powerpoint/2010/main" val="3549069729"/>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A576E739-02E2-284B-B307-91C3AC5EB4E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A444CEB6-F74A-6E4E-9012-9FC03CA0C7D5}"/>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Tree>
    <p:extLst>
      <p:ext uri="{BB962C8B-B14F-4D97-AF65-F5344CB8AC3E}">
        <p14:creationId xmlns:p14="http://schemas.microsoft.com/office/powerpoint/2010/main" val="5772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9" name="Picture 11">
            <a:extLst>
              <a:ext uri="{FF2B5EF4-FFF2-40B4-BE49-F238E27FC236}">
                <a16:creationId xmlns:a16="http://schemas.microsoft.com/office/drawing/2014/main" id="{0E2FA522-D656-A84F-8734-DEE8FEBAB7D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466081"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userDrawn="1">
          <p15:clr>
            <a:srgbClr val="FBAE40"/>
          </p15:clr>
        </p15:guide>
        <p15:guide id="2" pos="384" userDrawn="1">
          <p15:clr>
            <a:srgbClr val="FBAE40"/>
          </p15:clr>
        </p15:guide>
        <p15:guide id="3" pos="2784" userDrawn="1">
          <p15:clr>
            <a:srgbClr val="FBAE40"/>
          </p15:clr>
        </p15:guide>
        <p15:guide id="4" orient="horz" pos="984" userDrawn="1">
          <p15:clr>
            <a:srgbClr val="FBAE40"/>
          </p15:clr>
        </p15:guide>
        <p15:guide id="5" pos="2976" userDrawn="1">
          <p15:clr>
            <a:srgbClr val="FBAE40"/>
          </p15:clr>
        </p15:guide>
        <p15:guide id="6" pos="7296"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spTree>
    <p:extLst>
      <p:ext uri="{BB962C8B-B14F-4D97-AF65-F5344CB8AC3E}">
        <p14:creationId xmlns:p14="http://schemas.microsoft.com/office/powerpoint/2010/main" val="363948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35632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89149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171755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9" name="Picture 11">
            <a:extLst>
              <a:ext uri="{FF2B5EF4-FFF2-40B4-BE49-F238E27FC236}">
                <a16:creationId xmlns:a16="http://schemas.microsoft.com/office/drawing/2014/main" id="{CC5DDF57-CD79-7544-842D-0682B6A4FDA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95868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240" userDrawn="1">
          <p15:clr>
            <a:srgbClr val="FBAE40"/>
          </p15:clr>
        </p15:guide>
        <p15:guide id="3" orient="horz" pos="4104" userDrawn="1">
          <p15:clr>
            <a:srgbClr val="FBAE40"/>
          </p15:clr>
        </p15:guide>
        <p15:guide id="4" pos="4344" userDrawn="1">
          <p15:clr>
            <a:srgbClr val="FBAE40"/>
          </p15:clr>
        </p15:guide>
        <p15:guide id="5" pos="4560" userDrawn="1">
          <p15:clr>
            <a:srgbClr val="FBAE40"/>
          </p15:clr>
        </p15:guide>
        <p15:guide id="6" pos="7296" userDrawn="1">
          <p15:clr>
            <a:srgbClr val="FBAE40"/>
          </p15:clr>
        </p15:guide>
        <p15:guide id="7" orient="horz" pos="1320" userDrawn="1">
          <p15:clr>
            <a:srgbClr val="FBAE40"/>
          </p15:clr>
        </p15:guide>
        <p15:guide id="8" orient="horz" pos="326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99114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0812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4" name="Picture 11">
            <a:extLst>
              <a:ext uri="{FF2B5EF4-FFF2-40B4-BE49-F238E27FC236}">
                <a16:creationId xmlns:a16="http://schemas.microsoft.com/office/drawing/2014/main" id="{43298FF9-2F7F-3F4A-98D8-8D6D329B58A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332525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userDrawn="1">
          <p15:clr>
            <a:srgbClr val="FBAE40"/>
          </p15:clr>
        </p15:guide>
        <p15:guide id="2" pos="3024" userDrawn="1">
          <p15:clr>
            <a:srgbClr val="FBAE40"/>
          </p15:clr>
        </p15:guide>
        <p15:guide id="3" pos="1056" userDrawn="1">
          <p15:clr>
            <a:srgbClr val="FBAE40"/>
          </p15:clr>
        </p15:guide>
        <p15:guide id="4" orient="horz" pos="1272" userDrawn="1">
          <p15:clr>
            <a:srgbClr val="FBAE40"/>
          </p15:clr>
        </p15:guide>
        <p15:guide id="5" orient="horz" pos="3000" userDrawn="1">
          <p15:clr>
            <a:srgbClr val="FBAE40"/>
          </p15:clr>
        </p15:guide>
        <p15:guide id="6" orient="horz" pos="3072" userDrawn="1">
          <p15:clr>
            <a:srgbClr val="FBAE40"/>
          </p15:clr>
        </p15:guide>
        <p15:guide id="7" orient="horz" pos="3336" userDrawn="1">
          <p15:clr>
            <a:srgbClr val="FBAE40"/>
          </p15:clr>
        </p15:guide>
        <p15:guide id="8" orient="horz" pos="3360" userDrawn="1">
          <p15:clr>
            <a:srgbClr val="FBAE40"/>
          </p15:clr>
        </p15:guide>
        <p15:guide id="9" pos="729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DDE0D62D-B601-6E46-A9E3-0362B8B6F2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8" name="Picture 11">
            <a:extLst>
              <a:ext uri="{FF2B5EF4-FFF2-40B4-BE49-F238E27FC236}">
                <a16:creationId xmlns:a16="http://schemas.microsoft.com/office/drawing/2014/main" id="{AD45DE4F-CFCD-1044-9AC0-36D0646613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661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8" name="Picture 7" descr="A picture containing drawing&#10;&#10;Description automatically generated">
            <a:extLst>
              <a:ext uri="{FF2B5EF4-FFF2-40B4-BE49-F238E27FC236}">
                <a16:creationId xmlns:a16="http://schemas.microsoft.com/office/drawing/2014/main" id="{91CC5C20-C561-D84A-8E0F-35B6B3F7F2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35264" y="2267042"/>
            <a:ext cx="3321473" cy="2323917"/>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Photo / Small Quote (Gold)">
    <p:spTree>
      <p:nvGrpSpPr>
        <p:cNvPr id="1" name=""/>
        <p:cNvGrpSpPr/>
        <p:nvPr/>
      </p:nvGrpSpPr>
      <p:grpSpPr>
        <a:xfrm>
          <a:off x="0" y="0"/>
          <a:ext cx="0" cy="0"/>
          <a:chOff x="0" y="0"/>
          <a:chExt cx="0" cy="0"/>
        </a:xfrm>
      </p:grpSpPr>
      <p:sp>
        <p:nvSpPr>
          <p:cNvPr id="9" name="Rectangle 8"/>
          <p:cNvSpPr/>
          <p:nvPr userDrawn="1"/>
        </p:nvSpPr>
        <p:spPr>
          <a:xfrm>
            <a:off x="-134911" y="-89940"/>
            <a:ext cx="3097567" cy="7015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529335" y="1422484"/>
            <a:ext cx="2866642" cy="40130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6" name="Text Placeholder 15"/>
          <p:cNvSpPr>
            <a:spLocks noGrp="1"/>
          </p:cNvSpPr>
          <p:nvPr>
            <p:ph type="body" sz="quarter" idx="13" hasCustomPrompt="1"/>
          </p:nvPr>
        </p:nvSpPr>
        <p:spPr>
          <a:xfrm>
            <a:off x="5321508" y="1422484"/>
            <a:ext cx="6206572" cy="3228343"/>
          </a:xfrm>
        </p:spPr>
        <p:txBody>
          <a:bodyPr anchor="ctr">
            <a:normAutofit/>
          </a:bodyPr>
          <a:lstStyle>
            <a:lvl1pPr marL="0" indent="0">
              <a:lnSpc>
                <a:spcPct val="100000"/>
              </a:lnSpc>
              <a:buNone/>
              <a:defRPr sz="2800">
                <a:latin typeface="+mj-lt"/>
              </a:defRPr>
            </a:lvl1pPr>
            <a:lvl2pPr marL="182880" indent="0">
              <a:spcBef>
                <a:spcPts val="3500"/>
              </a:spcBef>
              <a:buNone/>
              <a:defRPr i="1">
                <a:latin typeface="+mj-lt"/>
              </a:defRPr>
            </a:lvl2pPr>
          </a:lstStyle>
          <a:p>
            <a:pPr lvl="0"/>
            <a:r>
              <a:rPr lang="en-US"/>
              <a:t>“Quote.”</a:t>
            </a:r>
          </a:p>
        </p:txBody>
      </p:sp>
      <p:sp>
        <p:nvSpPr>
          <p:cNvPr id="4" name="Text Placeholder 3"/>
          <p:cNvSpPr>
            <a:spLocks noGrp="1"/>
          </p:cNvSpPr>
          <p:nvPr>
            <p:ph type="body" sz="quarter" idx="15" hasCustomPrompt="1"/>
          </p:nvPr>
        </p:nvSpPr>
        <p:spPr>
          <a:xfrm>
            <a:off x="5321300" y="4929352"/>
            <a:ext cx="6207125" cy="506248"/>
          </a:xfrm>
        </p:spPr>
        <p:txBody>
          <a:bodyPr>
            <a:normAutofit/>
          </a:bodyPr>
          <a:lstStyle>
            <a:lvl1pPr marL="4763" indent="0">
              <a:lnSpc>
                <a:spcPct val="100000"/>
              </a:lnSpc>
              <a:spcBef>
                <a:spcPts val="0"/>
              </a:spcBef>
              <a:buNone/>
              <a:tabLst/>
              <a:defRPr sz="1600" spc="100" baseline="0">
                <a:solidFill>
                  <a:schemeClr val="tx2">
                    <a:lumMod val="75000"/>
                    <a:lumOff val="25000"/>
                  </a:schemeClr>
                </a:solidFill>
                <a:latin typeface="+mj-lt"/>
              </a:defRPr>
            </a:lvl1pPr>
            <a:lvl2pPr marL="4763" indent="0">
              <a:lnSpc>
                <a:spcPct val="100000"/>
              </a:lnSpc>
              <a:spcBef>
                <a:spcPts val="0"/>
              </a:spcBef>
              <a:buNone/>
              <a:tabLst/>
              <a:defRPr sz="1600" i="1">
                <a:solidFill>
                  <a:schemeClr val="tx2">
                    <a:lumMod val="50000"/>
                    <a:lumOff val="50000"/>
                  </a:schemeClr>
                </a:solidFill>
                <a:latin typeface="+mj-lt"/>
              </a:defRPr>
            </a:lvl2pPr>
          </a:lstStyle>
          <a:p>
            <a:pPr lvl="0"/>
            <a:r>
              <a:rPr lang="en-US"/>
              <a:t>NAME</a:t>
            </a:r>
          </a:p>
          <a:p>
            <a:pPr lvl="1"/>
            <a:r>
              <a:rPr lang="en-US"/>
              <a:t>Attribution</a:t>
            </a:r>
          </a:p>
        </p:txBody>
      </p:sp>
      <p:sp>
        <p:nvSpPr>
          <p:cNvPr id="10" name="Slide Number Placeholder 5">
            <a:extLst>
              <a:ext uri="{FF2B5EF4-FFF2-40B4-BE49-F238E27FC236}">
                <a16:creationId xmlns:a16="http://schemas.microsoft.com/office/drawing/2014/main" id="{E26A8BBF-3621-614E-A8BD-63CAF9A756D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8" name="Rectangle 7">
            <a:extLst>
              <a:ext uri="{FF2B5EF4-FFF2-40B4-BE49-F238E27FC236}">
                <a16:creationId xmlns:a16="http://schemas.microsoft.com/office/drawing/2014/main" id="{BE74E902-04FB-F74E-8524-8E36EEAF268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FE5B02F-84B2-374D-A5F1-4AEF59DF76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310703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5293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5416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2661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107132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orient="horz" pos="3912" userDrawn="1">
          <p15:clr>
            <a:srgbClr val="FBAE40"/>
          </p15:clr>
        </p15:guide>
        <p15:guide id="4" pos="72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383259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45025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74540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5772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82561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22835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80962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639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userDrawn="1">
          <p15:clr>
            <a:srgbClr val="FBAE40"/>
          </p15:clr>
        </p15:guide>
        <p15:guide id="2" pos="384" userDrawn="1">
          <p15:clr>
            <a:srgbClr val="FBAE40"/>
          </p15:clr>
        </p15:guide>
        <p15:guide id="3" pos="2784" userDrawn="1">
          <p15:clr>
            <a:srgbClr val="FBAE40"/>
          </p15:clr>
        </p15:guide>
        <p15:guide id="4" orient="horz" pos="984" userDrawn="1">
          <p15:clr>
            <a:srgbClr val="FBAE40"/>
          </p15:clr>
        </p15:guide>
        <p15:guide id="5" pos="2976" userDrawn="1">
          <p15:clr>
            <a:srgbClr val="FBAE40"/>
          </p15:clr>
        </p15:guide>
        <p15:guide id="6" pos="729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1606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4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4" orient="horz" pos="3912" userDrawn="1">
          <p15:clr>
            <a:srgbClr val="FBAE40"/>
          </p15:clr>
        </p15:guide>
        <p15:guide id="5" pos="4728" userDrawn="1">
          <p15:clr>
            <a:srgbClr val="FBAE40"/>
          </p15:clr>
        </p15:guide>
        <p15:guide id="6" pos="4896" userDrawn="1">
          <p15:clr>
            <a:srgbClr val="FBAE40"/>
          </p15:clr>
        </p15:guide>
        <p15:guide id="7" pos="729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274041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25215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Rectangle 1"/>
          <p:cNvSpPr/>
          <p:nvPr userDrawn="1"/>
        </p:nvSpPr>
        <p:spPr>
          <a:xfrm>
            <a:off x="-269823" y="-149902"/>
            <a:ext cx="12726649" cy="7150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88307" y="2269759"/>
            <a:ext cx="2815386" cy="1971241"/>
          </a:xfrm>
          <a:prstGeom prst="rect">
            <a:avLst/>
          </a:prstGeom>
        </p:spPr>
      </p:pic>
    </p:spTree>
    <p:extLst>
      <p:ext uri="{BB962C8B-B14F-4D97-AF65-F5344CB8AC3E}">
        <p14:creationId xmlns:p14="http://schemas.microsoft.com/office/powerpoint/2010/main" val="12214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5868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240" userDrawn="1">
          <p15:clr>
            <a:srgbClr val="FBAE40"/>
          </p15:clr>
        </p15:guide>
        <p15:guide id="3" orient="horz" pos="4104" userDrawn="1">
          <p15:clr>
            <a:srgbClr val="FBAE40"/>
          </p15:clr>
        </p15:guide>
        <p15:guide id="4" pos="4344" userDrawn="1">
          <p15:clr>
            <a:srgbClr val="FBAE40"/>
          </p15:clr>
        </p15:guide>
        <p15:guide id="5" pos="4560" userDrawn="1">
          <p15:clr>
            <a:srgbClr val="FBAE40"/>
          </p15:clr>
        </p15:guide>
        <p15:guide id="6" pos="7296" userDrawn="1">
          <p15:clr>
            <a:srgbClr val="FBAE40"/>
          </p15:clr>
        </p15:guide>
        <p15:guide id="7" orient="horz" pos="1320" userDrawn="1">
          <p15:clr>
            <a:srgbClr val="FBAE40"/>
          </p15:clr>
        </p15:guide>
        <p15:guide id="8" orient="horz" pos="326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4398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384" userDrawn="1">
          <p15:clr>
            <a:srgbClr val="FBAE40"/>
          </p15:clr>
        </p15:guide>
        <p15:guide id="3" orient="horz" pos="4104" userDrawn="1">
          <p15:clr>
            <a:srgbClr val="FBAE40"/>
          </p15:clr>
        </p15:guide>
        <p15:guide id="4" pos="3096" userDrawn="1">
          <p15:clr>
            <a:srgbClr val="FBAE40"/>
          </p15:clr>
        </p15:guide>
        <p15:guide id="5" pos="3312" userDrawn="1">
          <p15:clr>
            <a:srgbClr val="FBAE40"/>
          </p15:clr>
        </p15:guide>
        <p15:guide id="6" pos="7416" userDrawn="1">
          <p15:clr>
            <a:srgbClr val="FBAE40"/>
          </p15:clr>
        </p15:guide>
        <p15:guide id="7" orient="horz" pos="1128" userDrawn="1">
          <p15:clr>
            <a:srgbClr val="FBAE40"/>
          </p15:clr>
        </p15:guide>
        <p15:guide id="8" orient="horz" pos="309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06734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355410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69734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94696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26546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8" name="Rectangle 7">
            <a:extLst>
              <a:ext uri="{FF2B5EF4-FFF2-40B4-BE49-F238E27FC236}">
                <a16:creationId xmlns:a16="http://schemas.microsoft.com/office/drawing/2014/main" id="{548337B1-E69B-F5F0-A30A-E3661DF3B8F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9" name="Straight Connector 8">
            <a:extLst>
              <a:ext uri="{FF2B5EF4-FFF2-40B4-BE49-F238E27FC236}">
                <a16:creationId xmlns:a16="http://schemas.microsoft.com/office/drawing/2014/main" id="{0F34A7FC-CDAD-A8D9-229C-EC9B63E8AAC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43C73D5-BAE5-3E25-81A0-19B55D8995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7398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71E6C3D7-22B2-9778-1AD4-FEC79D6DE95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7" name="Straight Connector 6">
            <a:extLst>
              <a:ext uri="{FF2B5EF4-FFF2-40B4-BE49-F238E27FC236}">
                <a16:creationId xmlns:a16="http://schemas.microsoft.com/office/drawing/2014/main" id="{53D023E8-F59D-FE78-9DF7-2419FC8613C3}"/>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C91742B5-147F-8629-BCA9-B02D036E0D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61180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69372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3932DE-E5D4-BC4D-BF53-046E2F877CF3}"/>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5" name="Picture 11">
            <a:extLst>
              <a:ext uri="{FF2B5EF4-FFF2-40B4-BE49-F238E27FC236}">
                <a16:creationId xmlns:a16="http://schemas.microsoft.com/office/drawing/2014/main" id="{CCE1327B-D819-4F42-A28E-6506B8207F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317247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245719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46694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59474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38035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7851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9345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4758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7" name="Rectangle 6">
            <a:extLst>
              <a:ext uri="{FF2B5EF4-FFF2-40B4-BE49-F238E27FC236}">
                <a16:creationId xmlns:a16="http://schemas.microsoft.com/office/drawing/2014/main" id="{DA2AB1E8-101F-C7AB-4A52-7F5AD23CBC2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8" name="Straight Connector 7">
            <a:extLst>
              <a:ext uri="{FF2B5EF4-FFF2-40B4-BE49-F238E27FC236}">
                <a16:creationId xmlns:a16="http://schemas.microsoft.com/office/drawing/2014/main" id="{0272BE83-690B-3FBE-A6A9-1E6F6EC0AA7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A8FFC9C-8C94-AEB8-1D02-389DDF57D0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5897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984" userDrawn="1">
          <p15:clr>
            <a:srgbClr val="FBAE40"/>
          </p15:clr>
        </p15:guide>
        <p15:guide id="6" pos="384" userDrawn="1">
          <p15:clr>
            <a:srgbClr val="FBAE40"/>
          </p15:clr>
        </p15:guide>
        <p15:guide id="7" pos="7296" userDrawn="1">
          <p15:clr>
            <a:srgbClr val="FBAE40"/>
          </p15:clr>
        </p15:guide>
        <p15:guide id="8" orient="horz" pos="391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329032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53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160051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r>
              <a:rPr lang="en-US"/>
              <a:t>Click icon to add picture</a:t>
            </a:r>
          </a:p>
        </p:txBody>
      </p:sp>
      <p:sp>
        <p:nvSpPr>
          <p:cNvPr id="8" name="Rectangle 7">
            <a:extLst>
              <a:ext uri="{FF2B5EF4-FFF2-40B4-BE49-F238E27FC236}">
                <a16:creationId xmlns:a16="http://schemas.microsoft.com/office/drawing/2014/main" id="{EB98A59D-123E-5748-BCE5-F090EB559309}"/>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97306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r>
              <a:rPr lang="en-US"/>
              <a:t>Click icon to add picture</a:t>
            </a:r>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27268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384">
          <p15:clr>
            <a:srgbClr val="FBAE40"/>
          </p15:clr>
        </p15:guide>
        <p15:guide id="3" orient="horz" pos="4104">
          <p15:clr>
            <a:srgbClr val="FBAE40"/>
          </p15:clr>
        </p15:guide>
        <p15:guide id="4" pos="3096">
          <p15:clr>
            <a:srgbClr val="FBAE40"/>
          </p15:clr>
        </p15:guide>
        <p15:guide id="5" pos="3312">
          <p15:clr>
            <a:srgbClr val="FBAE40"/>
          </p15:clr>
        </p15:guide>
        <p15:guide id="6" pos="7416">
          <p15:clr>
            <a:srgbClr val="FBAE40"/>
          </p15:clr>
        </p15:guide>
        <p15:guide id="7" orient="horz" pos="1128">
          <p15:clr>
            <a:srgbClr val="FBAE40"/>
          </p15:clr>
        </p15:guide>
        <p15:guide id="8" orient="horz" pos="30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lumMod val="2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622B734-346C-A938-5518-B6039C2208F5}"/>
              </a:ext>
            </a:extLst>
          </p:cNvPr>
          <p:cNvSpPr>
            <a:spLocks noGrp="1"/>
          </p:cNvSpPr>
          <p:nvPr>
            <p:ph type="body" sz="quarter" idx="10"/>
          </p:nvPr>
        </p:nvSpPr>
        <p:spPr>
          <a:xfrm>
            <a:off x="1503363" y="1147763"/>
            <a:ext cx="8940800" cy="4176712"/>
          </a:xfrm>
        </p:spPr>
        <p:txBody>
          <a:bodyPr/>
          <a:lstStyle>
            <a:lvl1pPr marL="0" indent="0" algn="ctr">
              <a:buNone/>
              <a:defRPr sz="2800">
                <a:solidFill>
                  <a:schemeClr val="bg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09F8B6C5-BE26-96AB-9D43-0A3A3AAB9726}"/>
              </a:ext>
            </a:extLst>
          </p:cNvPr>
          <p:cNvSpPr>
            <a:spLocks noGrp="1"/>
          </p:cNvSpPr>
          <p:nvPr>
            <p:ph type="body" sz="quarter" idx="11" hasCustomPrompt="1"/>
          </p:nvPr>
        </p:nvSpPr>
        <p:spPr>
          <a:xfrm>
            <a:off x="1503363" y="5597525"/>
            <a:ext cx="8940800" cy="752475"/>
          </a:xfrm>
        </p:spPr>
        <p:txBody>
          <a:bodyPr/>
          <a:lstStyle>
            <a:lvl1pPr marL="0" indent="0" algn="ctr">
              <a:buNone/>
              <a:defRPr sz="2000">
                <a:solidFill>
                  <a:schemeClr val="bg2">
                    <a:lumMod val="75000"/>
                  </a:schemeClr>
                </a:solidFill>
              </a:defRPr>
            </a:lvl1pPr>
          </a:lstStyle>
          <a:p>
            <a:pPr lvl="0"/>
            <a:r>
              <a:rPr lang="en-US" sz="2400"/>
              <a:t>— Attribution</a:t>
            </a:r>
            <a:endParaRPr lang="en-US"/>
          </a:p>
        </p:txBody>
      </p:sp>
    </p:spTree>
    <p:extLst>
      <p:ext uri="{BB962C8B-B14F-4D97-AF65-F5344CB8AC3E}">
        <p14:creationId xmlns:p14="http://schemas.microsoft.com/office/powerpoint/2010/main" val="284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165774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32525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userDrawn="1">
          <p15:clr>
            <a:srgbClr val="FBAE40"/>
          </p15:clr>
        </p15:guide>
        <p15:guide id="2" pos="3024" userDrawn="1">
          <p15:clr>
            <a:srgbClr val="FBAE40"/>
          </p15:clr>
        </p15:guide>
        <p15:guide id="3" pos="1056" userDrawn="1">
          <p15:clr>
            <a:srgbClr val="FBAE40"/>
          </p15:clr>
        </p15:guide>
        <p15:guide id="4" orient="horz" pos="1272" userDrawn="1">
          <p15:clr>
            <a:srgbClr val="FBAE40"/>
          </p15:clr>
        </p15:guide>
        <p15:guide id="5" orient="horz" pos="3000" userDrawn="1">
          <p15:clr>
            <a:srgbClr val="FBAE40"/>
          </p15:clr>
        </p15:guide>
        <p15:guide id="6" orient="horz" pos="3072" userDrawn="1">
          <p15:clr>
            <a:srgbClr val="FBAE40"/>
          </p15:clr>
        </p15:guide>
        <p15:guide id="7" orient="horz" pos="3336" userDrawn="1">
          <p15:clr>
            <a:srgbClr val="FBAE40"/>
          </p15:clr>
        </p15:guide>
        <p15:guide id="8" orient="horz" pos="3360" userDrawn="1">
          <p15:clr>
            <a:srgbClr val="FBAE40"/>
          </p15:clr>
        </p15:guide>
        <p15:guide id="9" pos="7296"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661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421946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r>
              <a:rPr lang="en-US"/>
              <a:t>Click icon to add picture</a:t>
            </a:r>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8465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95C8DC-9014-C540-98C5-01AB2B8B1FA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7F7B15E-A04E-5549-9C4D-50F46029B8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D2C889-B335-5A4D-B4B7-8F0050AFDCE4}"/>
              </a:ext>
            </a:extLst>
          </p:cNvPr>
          <p:cNvSpPr>
            <a:spLocks noGrp="1"/>
          </p:cNvSpPr>
          <p:nvPr>
            <p:ph type="sldNum" sz="quarter" idx="12"/>
          </p:nvPr>
        </p:nvSpPr>
        <p:spPr/>
        <p:txBody>
          <a:bodyPr/>
          <a:lstStyle/>
          <a:p>
            <a:fld id="{C6665974-E1B7-A94A-85EF-DE1149FD678C}" type="slidenum">
              <a:rPr lang="en-US" smtClean="0"/>
              <a:t>‹#›</a:t>
            </a:fld>
            <a:endParaRPr lang="en-US"/>
          </a:p>
        </p:txBody>
      </p:sp>
    </p:spTree>
    <p:extLst>
      <p:ext uri="{BB962C8B-B14F-4D97-AF65-F5344CB8AC3E}">
        <p14:creationId xmlns:p14="http://schemas.microsoft.com/office/powerpoint/2010/main" val="32414918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71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15143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66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
        <p:nvSpPr>
          <p:cNvPr id="3" name="Rectangle 2">
            <a:extLst>
              <a:ext uri="{FF2B5EF4-FFF2-40B4-BE49-F238E27FC236}">
                <a16:creationId xmlns:a16="http://schemas.microsoft.com/office/drawing/2014/main" id="{3A6D4FBC-A27A-B0EF-3A95-8F410ADD7928}"/>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4" name="Graphic 3">
            <a:extLst>
              <a:ext uri="{FF2B5EF4-FFF2-40B4-BE49-F238E27FC236}">
                <a16:creationId xmlns:a16="http://schemas.microsoft.com/office/drawing/2014/main" id="{192DACD0-02DC-BFE1-48A7-77EAE561A3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274444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6D5218-B400-EBAA-349F-B7934AEA7C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0CD978-2D5B-D0C4-2115-7867B5E83953}"/>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8660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itle and Two Colum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4185" y="377253"/>
            <a:ext cx="11222533" cy="769662"/>
          </a:xfrm>
        </p:spPr>
        <p:txBody>
          <a:bodyPr/>
          <a:lstStyle>
            <a:lvl1pPr>
              <a:lnSpc>
                <a:spcPct val="100000"/>
              </a:lnSpc>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94185" y="1281851"/>
            <a:ext cx="5472662" cy="4684995"/>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7754" y="1281851"/>
            <a:ext cx="5468964" cy="4684995"/>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0"/>
          </p:nvPr>
        </p:nvSpPr>
        <p:spPr>
          <a:xfrm>
            <a:off x="4876800" y="6356350"/>
            <a:ext cx="2438400" cy="365125"/>
          </a:xfrm>
          <a:prstGeom prst="rect">
            <a:avLst/>
          </a:prstGeom>
        </p:spPr>
        <p:txBody>
          <a:bodyPr/>
          <a:lstStyle>
            <a:lvl1pPr>
              <a:defRPr>
                <a:solidFill>
                  <a:schemeClr val="bg1"/>
                </a:solidFill>
              </a:defRPr>
            </a:lvl1pPr>
          </a:lstStyle>
          <a:p>
            <a:endParaRPr lang="en-US"/>
          </a:p>
        </p:txBody>
      </p:sp>
      <p:sp>
        <p:nvSpPr>
          <p:cNvPr id="11" name="Slide Number Placeholder 10"/>
          <p:cNvSpPr>
            <a:spLocks noGrp="1"/>
          </p:cNvSpPr>
          <p:nvPr>
            <p:ph type="sldNum" sz="quarter" idx="11"/>
          </p:nvPr>
        </p:nvSpPr>
        <p:spPr/>
        <p:txBody>
          <a:bodyPr/>
          <a:lstStyle>
            <a:lvl1pPr algn="r">
              <a:defRPr>
                <a:solidFill>
                  <a:schemeClr val="bg1"/>
                </a:solidFill>
              </a:defRPr>
            </a:lvl1pPr>
          </a:lstStyle>
          <a:p>
            <a:r>
              <a:rPr lang="en-US"/>
              <a:t>DEPARTMENT NAME GOES HERE | MARCH 2018</a:t>
            </a:r>
          </a:p>
        </p:txBody>
      </p:sp>
    </p:spTree>
    <p:extLst>
      <p:ext uri="{BB962C8B-B14F-4D97-AF65-F5344CB8AC3E}">
        <p14:creationId xmlns:p14="http://schemas.microsoft.com/office/powerpoint/2010/main" val="3805330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FF5823BE-6034-967A-EC12-1299DCA5888F}"/>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C67FEB5-94B9-6FE8-3F48-916543C3694D}"/>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7" name="Graphic 6">
            <a:extLst>
              <a:ext uri="{FF2B5EF4-FFF2-40B4-BE49-F238E27FC236}">
                <a16:creationId xmlns:a16="http://schemas.microsoft.com/office/drawing/2014/main" id="{4766566B-1B82-AA69-31F3-5C7A81AC41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24951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960" userDrawn="1">
          <p15:clr>
            <a:srgbClr val="FBAE40"/>
          </p15:clr>
        </p15:guide>
        <p15:guide id="8" pos="936" userDrawn="1">
          <p15:clr>
            <a:srgbClr val="FBAE40"/>
          </p15:clr>
        </p15:guide>
        <p15:guide id="9" pos="5952" userDrawn="1">
          <p15:clr>
            <a:srgbClr val="FBAE40"/>
          </p15:clr>
        </p15:guide>
        <p15:guide id="10" orient="horz" pos="2688" userDrawn="1">
          <p15:clr>
            <a:srgbClr val="FBAE40"/>
          </p15:clr>
        </p15:guide>
        <p15:guide id="11" orient="horz" pos="2760" userDrawn="1">
          <p15:clr>
            <a:srgbClr val="FBAE40"/>
          </p15:clr>
        </p15:guide>
        <p15:guide id="12" orient="horz" pos="3024"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24593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1 Column (Header)">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F08B0038-E0CB-3547-B0AF-32EC07591A1F}"/>
              </a:ext>
            </a:extLst>
          </p:cNvPr>
          <p:cNvSpPr>
            <a:spLocks noGrp="1"/>
          </p:cNvSpPr>
          <p:nvPr>
            <p:ph type="body" sz="quarter" idx="15" hasCustomPrompt="1"/>
          </p:nvPr>
        </p:nvSpPr>
        <p:spPr>
          <a:xfrm>
            <a:off x="660608" y="1370850"/>
            <a:ext cx="10906337" cy="456363"/>
          </a:xfrm>
        </p:spPr>
        <p:txBody>
          <a:bodyPr>
            <a:noAutofit/>
          </a:bodyPr>
          <a:lstStyle>
            <a:lvl1pPr marL="0" indent="0">
              <a:buNone/>
              <a:defRPr sz="2600" b="0" i="0">
                <a:solidFill>
                  <a:schemeClr val="tx1">
                    <a:lumMod val="90000"/>
                    <a:lumOff val="10000"/>
                  </a:schemeClr>
                </a:solidFill>
                <a:latin typeface="+mn-lt"/>
                <a:ea typeface="Calibri Light" charset="0"/>
                <a:cs typeface="Calibri Light" charset="0"/>
              </a:defRPr>
            </a:lvl1pPr>
          </a:lstStyle>
          <a:p>
            <a:pPr lvl="0"/>
            <a:r>
              <a:rPr lang="en-US"/>
              <a:t>Header 01</a:t>
            </a:r>
          </a:p>
        </p:txBody>
      </p:sp>
      <p:sp>
        <p:nvSpPr>
          <p:cNvPr id="15" name="Slide Number Placeholder 5">
            <a:extLst>
              <a:ext uri="{FF2B5EF4-FFF2-40B4-BE49-F238E27FC236}">
                <a16:creationId xmlns:a16="http://schemas.microsoft.com/office/drawing/2014/main" id="{FED3B328-32C6-A846-A879-BB554223226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7" name="Content Placeholder 2">
            <a:extLst>
              <a:ext uri="{FF2B5EF4-FFF2-40B4-BE49-F238E27FC236}">
                <a16:creationId xmlns:a16="http://schemas.microsoft.com/office/drawing/2014/main" id="{A56D2A2C-658B-B640-B0FC-D563312E3D74}"/>
              </a:ext>
            </a:extLst>
          </p:cNvPr>
          <p:cNvSpPr>
            <a:spLocks noGrp="1"/>
          </p:cNvSpPr>
          <p:nvPr>
            <p:ph sz="quarter" idx="22"/>
          </p:nvPr>
        </p:nvSpPr>
        <p:spPr>
          <a:xfrm>
            <a:off x="660608" y="2082800"/>
            <a:ext cx="10882260" cy="4017963"/>
          </a:xfrm>
        </p:spPr>
        <p:txBody>
          <a:bodyPr>
            <a:normAutofit/>
          </a:bodyPr>
          <a:lstStyle>
            <a:lvl1pPr>
              <a:defRPr sz="22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B3356A8B-0978-4344-81D7-A94E7D73C7B3}"/>
              </a:ext>
            </a:extLst>
          </p:cNvPr>
          <p:cNvSpPr/>
          <p:nvPr userDrawn="1"/>
        </p:nvSpPr>
        <p:spPr>
          <a:xfrm>
            <a:off x="0" y="0"/>
            <a:ext cx="3561907" cy="1169582"/>
          </a:xfrm>
          <a:prstGeom prst="rect">
            <a:avLst/>
          </a:prstGeom>
          <a:solidFill>
            <a:srgbClr val="A3C2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8" name="Picture 7" descr="A picture containing drawing&#10;&#10;Description automatically generated">
            <a:extLst>
              <a:ext uri="{FF2B5EF4-FFF2-40B4-BE49-F238E27FC236}">
                <a16:creationId xmlns:a16="http://schemas.microsoft.com/office/drawing/2014/main" id="{0C1FEA9D-39F0-0144-BA3B-F76C341351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1324" y="247846"/>
            <a:ext cx="3471810" cy="695166"/>
          </a:xfrm>
          <a:prstGeom prst="rect">
            <a:avLst/>
          </a:prstGeom>
        </p:spPr>
      </p:pic>
    </p:spTree>
    <p:extLst>
      <p:ext uri="{BB962C8B-B14F-4D97-AF65-F5344CB8AC3E}">
        <p14:creationId xmlns:p14="http://schemas.microsoft.com/office/powerpoint/2010/main" val="7021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82467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84541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77645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19965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7" name="Rectangle 6">
            <a:extLst>
              <a:ext uri="{FF2B5EF4-FFF2-40B4-BE49-F238E27FC236}">
                <a16:creationId xmlns:a16="http://schemas.microsoft.com/office/drawing/2014/main" id="{8ED3C157-AA62-9BC2-1CEB-1FF13339106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8" name="Straight Connector 7">
            <a:extLst>
              <a:ext uri="{FF2B5EF4-FFF2-40B4-BE49-F238E27FC236}">
                <a16:creationId xmlns:a16="http://schemas.microsoft.com/office/drawing/2014/main" id="{5E82D4E3-A4E2-B21E-4711-6193AF9DAEBB}"/>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09196E5F-3581-A9C9-5209-5A469E4533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62245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984" userDrawn="1">
          <p15:clr>
            <a:srgbClr val="FBAE40"/>
          </p15:clr>
        </p15:guide>
        <p15:guide id="6" pos="384" userDrawn="1">
          <p15:clr>
            <a:srgbClr val="FBAE40"/>
          </p15:clr>
        </p15:guide>
        <p15:guide id="7" pos="7296" userDrawn="1">
          <p15:clr>
            <a:srgbClr val="FBAE40"/>
          </p15:clr>
        </p15:guide>
        <p15:guide id="8" orient="horz" pos="3912"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0792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0919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409041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95509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24692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Option 7">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1"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1" y="3616962"/>
            <a:ext cx="8227542" cy="1312075"/>
          </a:xfrm>
        </p:spPr>
        <p:txBody>
          <a:bodyPr anchor="b" anchorCtr="0"/>
          <a:lstStyle>
            <a:lvl1pPr algn="l">
              <a:defRPr sz="5398"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3112"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1" y="4953002"/>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599"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199" i="1">
                <a:solidFill>
                  <a:schemeClr val="bg1"/>
                </a:solidFill>
                <a:latin typeface="+mj-lt"/>
              </a:defRPr>
            </a:lvl1pPr>
            <a:lvl2pPr marL="457063" indent="0">
              <a:buNone/>
              <a:defRPr sz="3599">
                <a:solidFill>
                  <a:schemeClr val="bg1"/>
                </a:solidFill>
                <a:latin typeface="+mj-lt"/>
              </a:defRPr>
            </a:lvl2pPr>
            <a:lvl3pPr marL="914126" indent="0">
              <a:buNone/>
              <a:defRPr sz="3599">
                <a:solidFill>
                  <a:schemeClr val="bg1"/>
                </a:solidFill>
                <a:latin typeface="+mj-lt"/>
              </a:defRPr>
            </a:lvl3pPr>
            <a:lvl4pPr marL="1371189" indent="0">
              <a:buNone/>
              <a:defRPr sz="3599">
                <a:solidFill>
                  <a:schemeClr val="bg1"/>
                </a:solidFill>
                <a:latin typeface="+mj-lt"/>
              </a:defRPr>
            </a:lvl4pPr>
            <a:lvl5pPr marL="1828251" indent="0">
              <a:buNone/>
              <a:defRPr sz="3599">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57068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2711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5392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83925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1342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95204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3396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366382CE-51C6-FE93-9DCA-E9BF9F4E5602}"/>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936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144275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78759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r>
              <a:rPr lang="en-US"/>
              <a:t>Click icon to add picture</a:t>
            </a:r>
          </a:p>
        </p:txBody>
      </p:sp>
      <p:sp>
        <p:nvSpPr>
          <p:cNvPr id="8" name="Rectangle 7">
            <a:extLst>
              <a:ext uri="{FF2B5EF4-FFF2-40B4-BE49-F238E27FC236}">
                <a16:creationId xmlns:a16="http://schemas.microsoft.com/office/drawing/2014/main" id="{EB98A59D-123E-5748-BCE5-F090EB559309}"/>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76858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23765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r>
              <a:rPr lang="en-US"/>
              <a:t>Click icon to add picture</a:t>
            </a:r>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4631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92">
          <p15:clr>
            <a:srgbClr val="FBAE40"/>
          </p15:clr>
        </p15:guide>
        <p15:guide id="2" pos="384">
          <p15:clr>
            <a:srgbClr val="FBAE40"/>
          </p15:clr>
        </p15:guide>
        <p15:guide id="3" orient="horz" pos="4104">
          <p15:clr>
            <a:srgbClr val="FBAE40"/>
          </p15:clr>
        </p15:guide>
        <p15:guide id="4" pos="3096">
          <p15:clr>
            <a:srgbClr val="FBAE40"/>
          </p15:clr>
        </p15:guide>
        <p15:guide id="5" pos="3312">
          <p15:clr>
            <a:srgbClr val="FBAE40"/>
          </p15:clr>
        </p15:guide>
        <p15:guide id="6" pos="7416">
          <p15:clr>
            <a:srgbClr val="FBAE40"/>
          </p15:clr>
        </p15:guide>
        <p15:guide id="7" orient="horz" pos="1128">
          <p15:clr>
            <a:srgbClr val="FBAE40"/>
          </p15:clr>
        </p15:guide>
        <p15:guide id="8" orient="horz" pos="309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lumMod val="2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622B734-346C-A938-5518-B6039C2208F5}"/>
              </a:ext>
            </a:extLst>
          </p:cNvPr>
          <p:cNvSpPr>
            <a:spLocks noGrp="1"/>
          </p:cNvSpPr>
          <p:nvPr>
            <p:ph type="body" sz="quarter" idx="10"/>
          </p:nvPr>
        </p:nvSpPr>
        <p:spPr>
          <a:xfrm>
            <a:off x="1503363" y="1147763"/>
            <a:ext cx="8940800" cy="4176712"/>
          </a:xfrm>
        </p:spPr>
        <p:txBody>
          <a:bodyPr/>
          <a:lstStyle>
            <a:lvl1pPr marL="0" indent="0" algn="ctr">
              <a:buNone/>
              <a:defRPr sz="2800">
                <a:solidFill>
                  <a:schemeClr val="bg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09F8B6C5-BE26-96AB-9D43-0A3A3AAB9726}"/>
              </a:ext>
            </a:extLst>
          </p:cNvPr>
          <p:cNvSpPr>
            <a:spLocks noGrp="1"/>
          </p:cNvSpPr>
          <p:nvPr>
            <p:ph type="body" sz="quarter" idx="11" hasCustomPrompt="1"/>
          </p:nvPr>
        </p:nvSpPr>
        <p:spPr>
          <a:xfrm>
            <a:off x="1503363" y="5597525"/>
            <a:ext cx="8940800" cy="752475"/>
          </a:xfrm>
        </p:spPr>
        <p:txBody>
          <a:bodyPr/>
          <a:lstStyle>
            <a:lvl1pPr marL="0" indent="0" algn="ctr">
              <a:buNone/>
              <a:defRPr sz="2000">
                <a:solidFill>
                  <a:schemeClr val="bg2">
                    <a:lumMod val="75000"/>
                  </a:schemeClr>
                </a:solidFill>
              </a:defRPr>
            </a:lvl1pPr>
          </a:lstStyle>
          <a:p>
            <a:pPr lvl="0"/>
            <a:r>
              <a:rPr lang="en-US" sz="2400"/>
              <a:t>— Attribution</a:t>
            </a:r>
            <a:endParaRPr lang="en-US"/>
          </a:p>
        </p:txBody>
      </p:sp>
    </p:spTree>
    <p:extLst>
      <p:ext uri="{BB962C8B-B14F-4D97-AF65-F5344CB8AC3E}">
        <p14:creationId xmlns:p14="http://schemas.microsoft.com/office/powerpoint/2010/main" val="201161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139182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r>
              <a:rPr lang="en-US"/>
              <a:t>Click icon to add picture</a:t>
            </a:r>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479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5034FE90-BA29-7692-AE19-2BA295005A46}"/>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CF892BB-0E71-D87C-3452-85DB33904D5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7" name="Graphic 6">
            <a:extLst>
              <a:ext uri="{FF2B5EF4-FFF2-40B4-BE49-F238E27FC236}">
                <a16:creationId xmlns:a16="http://schemas.microsoft.com/office/drawing/2014/main" id="{D1963D22-AC0C-0DC8-9F87-A6D5C9AA72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1623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960" userDrawn="1">
          <p15:clr>
            <a:srgbClr val="FBAE40"/>
          </p15:clr>
        </p15:guide>
        <p15:guide id="8" pos="936" userDrawn="1">
          <p15:clr>
            <a:srgbClr val="FBAE40"/>
          </p15:clr>
        </p15:guide>
        <p15:guide id="9" pos="5952" userDrawn="1">
          <p15:clr>
            <a:srgbClr val="FBAE40"/>
          </p15:clr>
        </p15:guide>
        <p15:guide id="10" orient="horz" pos="2688" userDrawn="1">
          <p15:clr>
            <a:srgbClr val="FBAE40"/>
          </p15:clr>
        </p15:guide>
        <p15:guide id="11" orient="horz" pos="2760" userDrawn="1">
          <p15:clr>
            <a:srgbClr val="FBAE40"/>
          </p15:clr>
        </p15:guide>
        <p15:guide id="12" orient="horz" pos="302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20859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764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
        <p:nvSpPr>
          <p:cNvPr id="3" name="Rectangle 2">
            <a:extLst>
              <a:ext uri="{FF2B5EF4-FFF2-40B4-BE49-F238E27FC236}">
                <a16:creationId xmlns:a16="http://schemas.microsoft.com/office/drawing/2014/main" id="{116C694F-B532-4C48-2144-B7886C15224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4" name="Graphic 3">
            <a:extLst>
              <a:ext uri="{FF2B5EF4-FFF2-40B4-BE49-F238E27FC236}">
                <a16:creationId xmlns:a16="http://schemas.microsoft.com/office/drawing/2014/main" id="{3F934EB4-8B5E-5BC3-AB5C-E2A4C5C42F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232453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17967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6.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slideLayout" Target="../slideLayouts/slideLayout77.xml"/><Relationship Id="rId84" Type="http://schemas.openxmlformats.org/officeDocument/2006/relationships/slideLayout" Target="../slideLayouts/slideLayout93.xml"/><Relationship Id="rId89" Type="http://schemas.openxmlformats.org/officeDocument/2006/relationships/slideLayout" Target="../slideLayouts/slideLayout98.xml"/><Relationship Id="rId112" Type="http://schemas.openxmlformats.org/officeDocument/2006/relationships/slideLayout" Target="../slideLayouts/slideLayout121.xml"/><Relationship Id="rId16" Type="http://schemas.openxmlformats.org/officeDocument/2006/relationships/slideLayout" Target="../slideLayouts/slideLayout25.xml"/><Relationship Id="rId107" Type="http://schemas.openxmlformats.org/officeDocument/2006/relationships/slideLayout" Target="../slideLayouts/slideLayout116.xml"/><Relationship Id="rId11" Type="http://schemas.openxmlformats.org/officeDocument/2006/relationships/slideLayout" Target="../slideLayouts/slideLayout20.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74" Type="http://schemas.openxmlformats.org/officeDocument/2006/relationships/slideLayout" Target="../slideLayouts/slideLayout83.xml"/><Relationship Id="rId79" Type="http://schemas.openxmlformats.org/officeDocument/2006/relationships/slideLayout" Target="../slideLayouts/slideLayout88.xml"/><Relationship Id="rId102" Type="http://schemas.openxmlformats.org/officeDocument/2006/relationships/slideLayout" Target="../slideLayouts/slideLayout111.xml"/><Relationship Id="rId123" Type="http://schemas.openxmlformats.org/officeDocument/2006/relationships/slideLayout" Target="../slideLayouts/slideLayout132.xml"/><Relationship Id="rId128" Type="http://schemas.openxmlformats.org/officeDocument/2006/relationships/slideLayout" Target="../slideLayouts/slideLayout137.xml"/><Relationship Id="rId5" Type="http://schemas.openxmlformats.org/officeDocument/2006/relationships/slideLayout" Target="../slideLayouts/slideLayout14.xml"/><Relationship Id="rId90" Type="http://schemas.openxmlformats.org/officeDocument/2006/relationships/slideLayout" Target="../slideLayouts/slideLayout99.xml"/><Relationship Id="rId95" Type="http://schemas.openxmlformats.org/officeDocument/2006/relationships/slideLayout" Target="../slideLayouts/slideLayout104.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64" Type="http://schemas.openxmlformats.org/officeDocument/2006/relationships/slideLayout" Target="../slideLayouts/slideLayout73.xml"/><Relationship Id="rId69" Type="http://schemas.openxmlformats.org/officeDocument/2006/relationships/slideLayout" Target="../slideLayouts/slideLayout78.xml"/><Relationship Id="rId113" Type="http://schemas.openxmlformats.org/officeDocument/2006/relationships/slideLayout" Target="../slideLayouts/slideLayout122.xml"/><Relationship Id="rId118" Type="http://schemas.openxmlformats.org/officeDocument/2006/relationships/slideLayout" Target="../slideLayouts/slideLayout127.xml"/><Relationship Id="rId80" Type="http://schemas.openxmlformats.org/officeDocument/2006/relationships/slideLayout" Target="../slideLayouts/slideLayout89.xml"/><Relationship Id="rId85" Type="http://schemas.openxmlformats.org/officeDocument/2006/relationships/slideLayout" Target="../slideLayouts/slideLayout94.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59" Type="http://schemas.openxmlformats.org/officeDocument/2006/relationships/slideLayout" Target="../slideLayouts/slideLayout68.xml"/><Relationship Id="rId103" Type="http://schemas.openxmlformats.org/officeDocument/2006/relationships/slideLayout" Target="../slideLayouts/slideLayout112.xml"/><Relationship Id="rId108" Type="http://schemas.openxmlformats.org/officeDocument/2006/relationships/slideLayout" Target="../slideLayouts/slideLayout117.xml"/><Relationship Id="rId124" Type="http://schemas.openxmlformats.org/officeDocument/2006/relationships/slideLayout" Target="../slideLayouts/slideLayout133.xml"/><Relationship Id="rId129" Type="http://schemas.openxmlformats.org/officeDocument/2006/relationships/theme" Target="../theme/theme2.xml"/><Relationship Id="rId54" Type="http://schemas.openxmlformats.org/officeDocument/2006/relationships/slideLayout" Target="../slideLayouts/slideLayout63.xml"/><Relationship Id="rId70" Type="http://schemas.openxmlformats.org/officeDocument/2006/relationships/slideLayout" Target="../slideLayouts/slideLayout79.xml"/><Relationship Id="rId75" Type="http://schemas.openxmlformats.org/officeDocument/2006/relationships/slideLayout" Target="../slideLayouts/slideLayout84.xml"/><Relationship Id="rId91" Type="http://schemas.openxmlformats.org/officeDocument/2006/relationships/slideLayout" Target="../slideLayouts/slideLayout100.xml"/><Relationship Id="rId96" Type="http://schemas.openxmlformats.org/officeDocument/2006/relationships/slideLayout" Target="../slideLayouts/slideLayout10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49" Type="http://schemas.openxmlformats.org/officeDocument/2006/relationships/slideLayout" Target="../slideLayouts/slideLayout58.xml"/><Relationship Id="rId114" Type="http://schemas.openxmlformats.org/officeDocument/2006/relationships/slideLayout" Target="../slideLayouts/slideLayout123.xml"/><Relationship Id="rId119" Type="http://schemas.openxmlformats.org/officeDocument/2006/relationships/slideLayout" Target="../slideLayouts/slideLayout128.xml"/><Relationship Id="rId44" Type="http://schemas.openxmlformats.org/officeDocument/2006/relationships/slideLayout" Target="../slideLayouts/slideLayout53.xml"/><Relationship Id="rId60" Type="http://schemas.openxmlformats.org/officeDocument/2006/relationships/slideLayout" Target="../slideLayouts/slideLayout69.xml"/><Relationship Id="rId65" Type="http://schemas.openxmlformats.org/officeDocument/2006/relationships/slideLayout" Target="../slideLayouts/slideLayout74.xml"/><Relationship Id="rId81" Type="http://schemas.openxmlformats.org/officeDocument/2006/relationships/slideLayout" Target="../slideLayouts/slideLayout90.xml"/><Relationship Id="rId86" Type="http://schemas.openxmlformats.org/officeDocument/2006/relationships/slideLayout" Target="../slideLayouts/slideLayout95.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109" Type="http://schemas.openxmlformats.org/officeDocument/2006/relationships/slideLayout" Target="../slideLayouts/slideLayout11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 Id="rId76" Type="http://schemas.openxmlformats.org/officeDocument/2006/relationships/slideLayout" Target="../slideLayouts/slideLayout85.xml"/><Relationship Id="rId97" Type="http://schemas.openxmlformats.org/officeDocument/2006/relationships/slideLayout" Target="../slideLayouts/slideLayout106.xml"/><Relationship Id="rId104" Type="http://schemas.openxmlformats.org/officeDocument/2006/relationships/slideLayout" Target="../slideLayouts/slideLayout113.xml"/><Relationship Id="rId120" Type="http://schemas.openxmlformats.org/officeDocument/2006/relationships/slideLayout" Target="../slideLayouts/slideLayout129.xml"/><Relationship Id="rId125" Type="http://schemas.openxmlformats.org/officeDocument/2006/relationships/slideLayout" Target="../slideLayouts/slideLayout134.xml"/><Relationship Id="rId7" Type="http://schemas.openxmlformats.org/officeDocument/2006/relationships/slideLayout" Target="../slideLayouts/slideLayout16.xml"/><Relationship Id="rId71" Type="http://schemas.openxmlformats.org/officeDocument/2006/relationships/slideLayout" Target="../slideLayouts/slideLayout80.xml"/><Relationship Id="rId92" Type="http://schemas.openxmlformats.org/officeDocument/2006/relationships/slideLayout" Target="../slideLayouts/slideLayout101.xml"/><Relationship Id="rId2" Type="http://schemas.openxmlformats.org/officeDocument/2006/relationships/slideLayout" Target="../slideLayouts/slideLayout11.xml"/><Relationship Id="rId29" Type="http://schemas.openxmlformats.org/officeDocument/2006/relationships/slideLayout" Target="../slideLayouts/slideLayout38.xml"/><Relationship Id="rId24" Type="http://schemas.openxmlformats.org/officeDocument/2006/relationships/slideLayout" Target="../slideLayouts/slideLayout33.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66" Type="http://schemas.openxmlformats.org/officeDocument/2006/relationships/slideLayout" Target="../slideLayouts/slideLayout75.xml"/><Relationship Id="rId87" Type="http://schemas.openxmlformats.org/officeDocument/2006/relationships/slideLayout" Target="../slideLayouts/slideLayout96.xml"/><Relationship Id="rId110" Type="http://schemas.openxmlformats.org/officeDocument/2006/relationships/slideLayout" Target="../slideLayouts/slideLayout119.xml"/><Relationship Id="rId115" Type="http://schemas.openxmlformats.org/officeDocument/2006/relationships/slideLayout" Target="../slideLayouts/slideLayout124.xml"/><Relationship Id="rId61" Type="http://schemas.openxmlformats.org/officeDocument/2006/relationships/slideLayout" Target="../slideLayouts/slideLayout70.xml"/><Relationship Id="rId82" Type="http://schemas.openxmlformats.org/officeDocument/2006/relationships/slideLayout" Target="../slideLayouts/slideLayout91.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56" Type="http://schemas.openxmlformats.org/officeDocument/2006/relationships/slideLayout" Target="../slideLayouts/slideLayout65.xml"/><Relationship Id="rId77" Type="http://schemas.openxmlformats.org/officeDocument/2006/relationships/slideLayout" Target="../slideLayouts/slideLayout86.xml"/><Relationship Id="rId100" Type="http://schemas.openxmlformats.org/officeDocument/2006/relationships/slideLayout" Target="../slideLayouts/slideLayout109.xml"/><Relationship Id="rId105" Type="http://schemas.openxmlformats.org/officeDocument/2006/relationships/slideLayout" Target="../slideLayouts/slideLayout114.xml"/><Relationship Id="rId126" Type="http://schemas.openxmlformats.org/officeDocument/2006/relationships/slideLayout" Target="../slideLayouts/slideLayout135.xml"/><Relationship Id="rId8" Type="http://schemas.openxmlformats.org/officeDocument/2006/relationships/slideLayout" Target="../slideLayouts/slideLayout17.xml"/><Relationship Id="rId51" Type="http://schemas.openxmlformats.org/officeDocument/2006/relationships/slideLayout" Target="../slideLayouts/slideLayout60.xml"/><Relationship Id="rId72" Type="http://schemas.openxmlformats.org/officeDocument/2006/relationships/slideLayout" Target="../slideLayouts/slideLayout81.xml"/><Relationship Id="rId93" Type="http://schemas.openxmlformats.org/officeDocument/2006/relationships/slideLayout" Target="../slideLayouts/slideLayout102.xml"/><Relationship Id="rId98" Type="http://schemas.openxmlformats.org/officeDocument/2006/relationships/slideLayout" Target="../slideLayouts/slideLayout107.xml"/><Relationship Id="rId121" Type="http://schemas.openxmlformats.org/officeDocument/2006/relationships/slideLayout" Target="../slideLayouts/slideLayout130.xml"/><Relationship Id="rId3" Type="http://schemas.openxmlformats.org/officeDocument/2006/relationships/slideLayout" Target="../slideLayouts/slideLayout12.xml"/><Relationship Id="rId25" Type="http://schemas.openxmlformats.org/officeDocument/2006/relationships/slideLayout" Target="../slideLayouts/slideLayout34.xml"/><Relationship Id="rId46" Type="http://schemas.openxmlformats.org/officeDocument/2006/relationships/slideLayout" Target="../slideLayouts/slideLayout55.xml"/><Relationship Id="rId67" Type="http://schemas.openxmlformats.org/officeDocument/2006/relationships/slideLayout" Target="../slideLayouts/slideLayout76.xml"/><Relationship Id="rId116" Type="http://schemas.openxmlformats.org/officeDocument/2006/relationships/slideLayout" Target="../slideLayouts/slideLayout125.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62" Type="http://schemas.openxmlformats.org/officeDocument/2006/relationships/slideLayout" Target="../slideLayouts/slideLayout71.xml"/><Relationship Id="rId83" Type="http://schemas.openxmlformats.org/officeDocument/2006/relationships/slideLayout" Target="../slideLayouts/slideLayout92.xml"/><Relationship Id="rId88" Type="http://schemas.openxmlformats.org/officeDocument/2006/relationships/slideLayout" Target="../slideLayouts/slideLayout97.xml"/><Relationship Id="rId111" Type="http://schemas.openxmlformats.org/officeDocument/2006/relationships/slideLayout" Target="../slideLayouts/slideLayout120.xml"/><Relationship Id="rId15" Type="http://schemas.openxmlformats.org/officeDocument/2006/relationships/slideLayout" Target="../slideLayouts/slideLayout24.xml"/><Relationship Id="rId36" Type="http://schemas.openxmlformats.org/officeDocument/2006/relationships/slideLayout" Target="../slideLayouts/slideLayout45.xml"/><Relationship Id="rId57" Type="http://schemas.openxmlformats.org/officeDocument/2006/relationships/slideLayout" Target="../slideLayouts/slideLayout66.xml"/><Relationship Id="rId106" Type="http://schemas.openxmlformats.org/officeDocument/2006/relationships/slideLayout" Target="../slideLayouts/slideLayout115.xml"/><Relationship Id="rId127" Type="http://schemas.openxmlformats.org/officeDocument/2006/relationships/slideLayout" Target="../slideLayouts/slideLayout13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52" Type="http://schemas.openxmlformats.org/officeDocument/2006/relationships/slideLayout" Target="../slideLayouts/slideLayout61.xml"/><Relationship Id="rId73" Type="http://schemas.openxmlformats.org/officeDocument/2006/relationships/slideLayout" Target="../slideLayouts/slideLayout82.xml"/><Relationship Id="rId78" Type="http://schemas.openxmlformats.org/officeDocument/2006/relationships/slideLayout" Target="../slideLayouts/slideLayout87.xml"/><Relationship Id="rId94" Type="http://schemas.openxmlformats.org/officeDocument/2006/relationships/slideLayout" Target="../slideLayouts/slideLayout103.xml"/><Relationship Id="rId99" Type="http://schemas.openxmlformats.org/officeDocument/2006/relationships/slideLayout" Target="../slideLayouts/slideLayout108.xml"/><Relationship Id="rId101" Type="http://schemas.openxmlformats.org/officeDocument/2006/relationships/slideLayout" Target="../slideLayouts/slideLayout110.xml"/><Relationship Id="rId122" Type="http://schemas.openxmlformats.org/officeDocument/2006/relationships/slideLayout" Target="../slideLayouts/slideLayout13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26"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Tree>
    <p:extLst>
      <p:ext uri="{BB962C8B-B14F-4D97-AF65-F5344CB8AC3E}">
        <p14:creationId xmlns:p14="http://schemas.microsoft.com/office/powerpoint/2010/main" val="2071181417"/>
      </p:ext>
    </p:extLst>
  </p:cSld>
  <p:clrMap bg1="lt1" tx1="dk1" bg2="lt2" tx2="dk2" accent1="accent1" accent2="accent2" accent3="accent3" accent4="accent4" accent5="accent5" accent6="accent6" hlink="hlink" folHlink="folHlink"/>
  <p:sldLayoutIdLst>
    <p:sldLayoutId id="2147483688" r:id="rId1"/>
    <p:sldLayoutId id="2147483831" r:id="rId2"/>
    <p:sldLayoutId id="2147483698" r:id="rId3"/>
    <p:sldLayoutId id="2147483827" r:id="rId4"/>
    <p:sldLayoutId id="2147483828" r:id="rId5"/>
    <p:sldLayoutId id="2147483829" r:id="rId6"/>
    <p:sldLayoutId id="2147483830" r:id="rId7"/>
    <p:sldLayoutId id="2147483832" r:id="rId8"/>
    <p:sldLayoutId id="214748387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4721D0-A2D8-C742-BA85-923E33488876}"/>
              </a:ext>
            </a:extLst>
          </p:cNvPr>
          <p:cNvSpPr>
            <a:spLocks noGrp="1"/>
          </p:cNvSpPr>
          <p:nvPr>
            <p:ph type="title"/>
          </p:nvPr>
        </p:nvSpPr>
        <p:spPr>
          <a:xfrm>
            <a:off x="416560" y="368135"/>
            <a:ext cx="7468656" cy="1312075"/>
          </a:xfrm>
          <a:prstGeom prst="rect">
            <a:avLst/>
          </a:prstGeom>
        </p:spPr>
        <p:txBody>
          <a:bodyPr vert="horz" wrap="square" lIns="0" tIns="0" rIns="0" bIns="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4A9D0E10-DAFC-CC47-8CE3-1FD5F861DBE8}"/>
              </a:ext>
            </a:extLst>
          </p:cNvPr>
          <p:cNvSpPr>
            <a:spLocks noGrp="1"/>
          </p:cNvSpPr>
          <p:nvPr>
            <p:ph type="body" idx="1"/>
          </p:nvPr>
        </p:nvSpPr>
        <p:spPr>
          <a:xfrm>
            <a:off x="406400" y="1825625"/>
            <a:ext cx="11368066" cy="4351338"/>
          </a:xfrm>
          <a:prstGeom prst="rect">
            <a:avLst/>
          </a:prstGeom>
        </p:spPr>
        <p:txBody>
          <a:bodyPr vert="horz" lIns="0" tIns="0" rIns="0" bIns="0" rtlCol="0" anchor="ctr"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DFC178-3DF8-E147-88FE-5D0230CD96B4}"/>
              </a:ext>
            </a:extLst>
          </p:cNvPr>
          <p:cNvSpPr>
            <a:spLocks noGrp="1"/>
          </p:cNvSpPr>
          <p:nvPr>
            <p:ph type="dt" sz="half" idx="2"/>
          </p:nvPr>
        </p:nvSpPr>
        <p:spPr>
          <a:xfrm>
            <a:off x="40132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94717B8-6640-F340-8337-0BAA676A62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34E9DC4-5146-1042-BA04-61BE8A99CEDA}"/>
              </a:ext>
            </a:extLst>
          </p:cNvPr>
          <p:cNvSpPr>
            <a:spLocks noGrp="1"/>
          </p:cNvSpPr>
          <p:nvPr>
            <p:ph type="sldNum" sz="quarter" idx="4"/>
          </p:nvPr>
        </p:nvSpPr>
        <p:spPr>
          <a:xfrm>
            <a:off x="9043208" y="633603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D660AA-F4B9-9E4A-970E-DF14D91E0EC0}" type="slidenum">
              <a:rPr lang="en-US" smtClean="0"/>
              <a:t>‹#›</a:t>
            </a:fld>
            <a:endParaRPr lang="en-US"/>
          </a:p>
        </p:txBody>
      </p:sp>
    </p:spTree>
    <p:extLst>
      <p:ext uri="{BB962C8B-B14F-4D97-AF65-F5344CB8AC3E}">
        <p14:creationId xmlns:p14="http://schemas.microsoft.com/office/powerpoint/2010/main" val="3448225862"/>
      </p:ext>
    </p:extLst>
  </p:cSld>
  <p:clrMap bg1="lt1" tx1="dk1" bg2="lt2" tx2="dk2" accent1="accent1" accent2="accent2" accent3="accent3" accent4="accent4" accent5="accent5" accent6="accent6" hlink="hlink" folHlink="folHlink"/>
  <p:sldLayoutIdLst>
    <p:sldLayoutId id="2147483866" r:id="rId1"/>
    <p:sldLayoutId id="2147483671" r:id="rId2"/>
    <p:sldLayoutId id="2147483867" r:id="rId3"/>
    <p:sldLayoutId id="2147483868" r:id="rId4"/>
    <p:sldLayoutId id="2147483869" r:id="rId5"/>
    <p:sldLayoutId id="2147483870" r:id="rId6"/>
    <p:sldLayoutId id="2147483706" r:id="rId7"/>
    <p:sldLayoutId id="2147483711" r:id="rId8"/>
    <p:sldLayoutId id="2147483673" r:id="rId9"/>
    <p:sldLayoutId id="2147483707" r:id="rId10"/>
    <p:sldLayoutId id="2147483712" r:id="rId11"/>
    <p:sldLayoutId id="2147483674" r:id="rId12"/>
    <p:sldLayoutId id="2147483708" r:id="rId13"/>
    <p:sldLayoutId id="2147483713" r:id="rId14"/>
    <p:sldLayoutId id="2147483709" r:id="rId15"/>
    <p:sldLayoutId id="2147483675" r:id="rId16"/>
    <p:sldLayoutId id="2147483714" r:id="rId17"/>
    <p:sldLayoutId id="2147483676" r:id="rId18"/>
    <p:sldLayoutId id="2147483710" r:id="rId19"/>
    <p:sldLayoutId id="2147483715" r:id="rId20"/>
    <p:sldLayoutId id="2147483677" r:id="rId21"/>
    <p:sldLayoutId id="2147483678" r:id="rId22"/>
    <p:sldLayoutId id="2147483754" r:id="rId23"/>
    <p:sldLayoutId id="2147483755" r:id="rId24"/>
    <p:sldLayoutId id="2147483756" r:id="rId25"/>
    <p:sldLayoutId id="2147483757" r:id="rId26"/>
    <p:sldLayoutId id="2147483753"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58" r:id="rId39"/>
    <p:sldLayoutId id="2147483771" r:id="rId40"/>
    <p:sldLayoutId id="2147483772" r:id="rId41"/>
    <p:sldLayoutId id="2147483773" r:id="rId42"/>
    <p:sldLayoutId id="2147483774" r:id="rId43"/>
    <p:sldLayoutId id="2147483775" r:id="rId44"/>
    <p:sldLayoutId id="2147483717" r:id="rId45"/>
    <p:sldLayoutId id="2147483679" r:id="rId46"/>
    <p:sldLayoutId id="2147483680" r:id="rId47"/>
    <p:sldLayoutId id="2147483681" r:id="rId48"/>
    <p:sldLayoutId id="2147483776" r:id="rId49"/>
    <p:sldLayoutId id="2147483777" r:id="rId50"/>
    <p:sldLayoutId id="2147483770" r:id="rId51"/>
    <p:sldLayoutId id="2147483779" r:id="rId52"/>
    <p:sldLayoutId id="2147483780" r:id="rId53"/>
    <p:sldLayoutId id="2147483871" r:id="rId54"/>
    <p:sldLayoutId id="2147483781" r:id="rId55"/>
    <p:sldLayoutId id="2147483782" r:id="rId56"/>
    <p:sldLayoutId id="2147483783" r:id="rId57"/>
    <p:sldLayoutId id="2147483672" r:id="rId58"/>
    <p:sldLayoutId id="2147483778" r:id="rId59"/>
    <p:sldLayoutId id="2147483852" r:id="rId60"/>
    <p:sldLayoutId id="2147483853" r:id="rId61"/>
    <p:sldLayoutId id="2147483854" r:id="rId62"/>
    <p:sldLayoutId id="2147483855" r:id="rId63"/>
    <p:sldLayoutId id="2147483856" r:id="rId64"/>
    <p:sldLayoutId id="2147483857" r:id="rId65"/>
    <p:sldLayoutId id="2147483858" r:id="rId66"/>
    <p:sldLayoutId id="2147483859" r:id="rId67"/>
    <p:sldLayoutId id="2147483745" r:id="rId68"/>
    <p:sldLayoutId id="2147483860" r:id="rId69"/>
    <p:sldLayoutId id="2147483861" r:id="rId70"/>
    <p:sldLayoutId id="2147483862" r:id="rId71"/>
    <p:sldLayoutId id="2147483749" r:id="rId72"/>
    <p:sldLayoutId id="2147483863" r:id="rId73"/>
    <p:sldLayoutId id="2147483865" r:id="rId74"/>
    <p:sldLayoutId id="2147483785" r:id="rId75"/>
    <p:sldLayoutId id="2147483833" r:id="rId76"/>
    <p:sldLayoutId id="2147483786" r:id="rId77"/>
    <p:sldLayoutId id="2147483835" r:id="rId78"/>
    <p:sldLayoutId id="2147483836" r:id="rId79"/>
    <p:sldLayoutId id="2147483837" r:id="rId80"/>
    <p:sldLayoutId id="2147483838" r:id="rId81"/>
    <p:sldLayoutId id="2147483839" r:id="rId82"/>
    <p:sldLayoutId id="2147483840" r:id="rId83"/>
    <p:sldLayoutId id="2147483841" r:id="rId84"/>
    <p:sldLayoutId id="2147483842" r:id="rId85"/>
    <p:sldLayoutId id="2147483843" r:id="rId86"/>
    <p:sldLayoutId id="2147483844" r:id="rId87"/>
    <p:sldLayoutId id="2147483845" r:id="rId88"/>
    <p:sldLayoutId id="2147483846" r:id="rId89"/>
    <p:sldLayoutId id="2147483848" r:id="rId90"/>
    <p:sldLayoutId id="2147483849" r:id="rId91"/>
    <p:sldLayoutId id="2147483705" r:id="rId92"/>
    <p:sldLayoutId id="2147483694" r:id="rId93"/>
    <p:sldLayoutId id="2147483695" r:id="rId94"/>
    <p:sldLayoutId id="2147483702" r:id="rId95"/>
    <p:sldLayoutId id="2147483788" r:id="rId96"/>
    <p:sldLayoutId id="2147483729" r:id="rId97"/>
    <p:sldLayoutId id="2147483730" r:id="rId98"/>
    <p:sldLayoutId id="2147483731" r:id="rId99"/>
    <p:sldLayoutId id="2147483732" r:id="rId100"/>
    <p:sldLayoutId id="2147483734" r:id="rId101"/>
    <p:sldLayoutId id="2147483735" r:id="rId102"/>
    <p:sldLayoutId id="2147483784" r:id="rId103"/>
    <p:sldLayoutId id="2147483736" r:id="rId104"/>
    <p:sldLayoutId id="2147483738" r:id="rId105"/>
    <p:sldLayoutId id="2147483739" r:id="rId106"/>
    <p:sldLayoutId id="2147483740" r:id="rId107"/>
    <p:sldLayoutId id="2147483741" r:id="rId108"/>
    <p:sldLayoutId id="2147483742" r:id="rId109"/>
    <p:sldLayoutId id="2147483743" r:id="rId110"/>
    <p:sldLayoutId id="2147483744" r:id="rId111"/>
    <p:sldLayoutId id="2147483789" r:id="rId112"/>
    <p:sldLayoutId id="2147483787" r:id="rId113"/>
    <p:sldLayoutId id="2147483726" r:id="rId114"/>
    <p:sldLayoutId id="2147483727" r:id="rId115"/>
    <p:sldLayoutId id="2147483790" r:id="rId116"/>
    <p:sldLayoutId id="2147483791" r:id="rId117"/>
    <p:sldLayoutId id="2147483746" r:id="rId118"/>
    <p:sldLayoutId id="2147483747" r:id="rId119"/>
    <p:sldLayoutId id="2147483748" r:id="rId120"/>
    <p:sldLayoutId id="2147483793" r:id="rId121"/>
    <p:sldLayoutId id="2147483750" r:id="rId122"/>
    <p:sldLayoutId id="2147483752" r:id="rId123"/>
    <p:sldLayoutId id="2147483795" r:id="rId124"/>
    <p:sldLayoutId id="2147483796" r:id="rId125"/>
    <p:sldLayoutId id="2147483797" r:id="rId126"/>
    <p:sldLayoutId id="2147483660" r:id="rId127"/>
    <p:sldLayoutId id="2147483873" r:id="rId1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0" i="0" kern="1200">
          <a:solidFill>
            <a:schemeClr val="tx1"/>
          </a:solidFill>
          <a:latin typeface="+mj-lt"/>
          <a:ea typeface="+mj-ea"/>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66.png"/><Relationship Id="rId7" Type="http://schemas.openxmlformats.org/officeDocument/2006/relationships/image" Target="../media/image30.png"/><Relationship Id="rId2" Type="http://schemas.microsoft.com/office/2018/10/relationships/comments" Target="../comments/modernComment_334_62818D6C.xml"/><Relationship Id="rId1" Type="http://schemas.openxmlformats.org/officeDocument/2006/relationships/slideLayout" Target="../slideLayouts/slideLayout112.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microsoft.com/office/2018/10/relationships/comments" Target="../comments/modernComment_335_68885970.xml"/><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microsoft.com/office/2018/10/relationships/comments" Target="../comments/modernComment_329_170BC622.xml"/><Relationship Id="rId2" Type="http://schemas.openxmlformats.org/officeDocument/2006/relationships/notesSlide" Target="../notesSlides/notesSlide8.xml"/><Relationship Id="rId1" Type="http://schemas.openxmlformats.org/officeDocument/2006/relationships/slideLayout" Target="../slideLayouts/slideLayout137.xml"/><Relationship Id="rId5" Type="http://schemas.openxmlformats.org/officeDocument/2006/relationships/image" Target="../media/image73.jpe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37.xml"/><Relationship Id="rId4" Type="http://schemas.openxmlformats.org/officeDocument/2006/relationships/image" Target="../media/image74.jpeg"/></Relationships>
</file>

<file path=ppt/slides/_rels/slide1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78.svg"/><Relationship Id="rId4" Type="http://schemas.openxmlformats.org/officeDocument/2006/relationships/image" Target="../media/image77.png"/></Relationships>
</file>

<file path=ppt/slides/_rels/slide16.xml.rels><?xml version="1.0" encoding="UTF-8" standalone="yes"?>
<Relationships xmlns="http://schemas.openxmlformats.org/package/2006/relationships"><Relationship Id="rId3" Type="http://schemas.microsoft.com/office/2018/10/relationships/comments" Target="../comments/modernComment_331_B630ED2E.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81.jpeg"/></Relationships>
</file>

<file path=ppt/slides/_rels/slide1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83.jpeg"/></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microsoft.com/office/2018/10/relationships/comments" Target="../comments/modernComment_30E_561BDEF2.xml"/><Relationship Id="rId7" Type="http://schemas.openxmlformats.org/officeDocument/2006/relationships/image" Target="../media/image33.sv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84.jpeg"/></Relationships>
</file>

<file path=ppt/slides/_rels/slide2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86.svg"/><Relationship Id="rId4" Type="http://schemas.openxmlformats.org/officeDocument/2006/relationships/image" Target="../media/image85.png"/></Relationships>
</file>

<file path=ppt/slides/_rels/slide2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92.svg"/><Relationship Id="rId3" Type="http://schemas.microsoft.com/office/2018/10/relationships/comments" Target="../comments/modernComment_290_2873BE67.xml"/><Relationship Id="rId7"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90.svg"/><Relationship Id="rId11" Type="http://schemas.openxmlformats.org/officeDocument/2006/relationships/image" Target="../media/image3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88.png"/><Relationship Id="rId9"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33F_A50407F1.xml"/><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95.jpe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96.jpe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97.jpe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98.jpeg"/></Relationships>
</file>

<file path=ppt/slides/_rels/slide28.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sv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87.jpe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microsoft.com/office/2018/10/relationships/comments" Target="../comments/modernComment_316_27AED165.xml"/><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6.png"/><Relationship Id="rId5" Type="http://schemas.microsoft.com/office/2018/10/relationships/comments" Target="../comments/modernComment_2C7_EA05BB82.xml"/><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 Id="rId9"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3.png"/><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322_75F3E2F4.xml"/><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117.jpeg"/><Relationship Id="rId4" Type="http://schemas.openxmlformats.org/officeDocument/2006/relationships/image" Target="../media/image116.jpeg"/></Relationships>
</file>

<file path=ppt/slides/_rels/slide37.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microsoft.com/office/2018/10/relationships/comments" Target="../comments/modernComment_300_B71D6359.xml"/><Relationship Id="rId7" Type="http://schemas.openxmlformats.org/officeDocument/2006/relationships/image" Target="../media/image122.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39.xml.rels><?xml version="1.0" encoding="UTF-8" standalone="yes"?>
<Relationships xmlns="http://schemas.openxmlformats.org/package/2006/relationships"><Relationship Id="rId3" Type="http://schemas.microsoft.com/office/2018/10/relationships/comments" Target="../comments/modernComment_301_1BAB5F3.xm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123.png"/><Relationship Id="rId4" Type="http://schemas.openxmlformats.org/officeDocument/2006/relationships/image" Target="../media/image119.png"/></Relationships>
</file>

<file path=ppt/slides/_rels/slide4.xml.rels><?xml version="1.0" encoding="UTF-8" standalone="yes"?>
<Relationships xmlns="http://schemas.openxmlformats.org/package/2006/relationships"><Relationship Id="rId3" Type="http://schemas.microsoft.com/office/2018/10/relationships/comments" Target="../comments/modernComment_319_3CCA665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microsoft.com/office/2018/10/relationships/comments" Target="../comments/modernComment_31D_FE8CE52B.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38.jpe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microsoft.com/office/2018/10/relationships/comments" Target="../comments/modernComment_32A_59E0258F.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image" Target="../media/image35.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microsoft.com/office/2018/10/relationships/comments" Target="../comments/modernComment_325_B75540C5.xml"/><Relationship Id="rId16" Type="http://schemas.openxmlformats.org/officeDocument/2006/relationships/image" Target="../media/image52.svg"/><Relationship Id="rId1" Type="http://schemas.openxmlformats.org/officeDocument/2006/relationships/slideLayout" Target="../slideLayouts/slideLayout6.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svg"/></Relationships>
</file>

<file path=ppt/slides/_rels/slide8.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3.jpeg"/><Relationship Id="rId3" Type="http://schemas.microsoft.com/office/2018/10/relationships/comments" Target="../comments/modernComment_333_D4C697CF.xml"/><Relationship Id="rId7" Type="http://schemas.openxmlformats.org/officeDocument/2006/relationships/image" Target="../media/image58.png"/><Relationship Id="rId12"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57.svg"/><Relationship Id="rId11" Type="http://schemas.openxmlformats.org/officeDocument/2006/relationships/image" Target="../media/image35.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jpeg"/><Relationship Id="rId9"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65.sv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wearing a graduation cap and gown  Description automatically generated">
            <a:extLst>
              <a:ext uri="{FF2B5EF4-FFF2-40B4-BE49-F238E27FC236}">
                <a16:creationId xmlns:a16="http://schemas.microsoft.com/office/drawing/2014/main" id="{F2DAB3DF-602F-4AB3-4A43-3A52A1D894F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DE34DFC-0472-B308-AAE6-1F6E93DDAE79}"/>
              </a:ext>
            </a:extLst>
          </p:cNvPr>
          <p:cNvSpPr/>
          <p:nvPr/>
        </p:nvSpPr>
        <p:spPr>
          <a:xfrm>
            <a:off x="1" y="1"/>
            <a:ext cx="12192000" cy="6857999"/>
          </a:xfrm>
          <a:prstGeom prst="rect">
            <a:avLst/>
          </a:prstGeom>
          <a:gradFill flip="none" rotWithShape="1">
            <a:gsLst>
              <a:gs pos="17000">
                <a:srgbClr val="FFBF05">
                  <a:alpha val="89851"/>
                </a:srgbClr>
              </a:gs>
              <a:gs pos="100000">
                <a:schemeClr val="accent1">
                  <a:lumMod val="0"/>
                  <a:lumOff val="100000"/>
                  <a:alpha val="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Picture 3" descr="Text  Description automatically generated">
            <a:extLst>
              <a:ext uri="{FF2B5EF4-FFF2-40B4-BE49-F238E27FC236}">
                <a16:creationId xmlns:a16="http://schemas.microsoft.com/office/drawing/2014/main" id="{97A0E9CE-17FB-B683-D8C6-41FFC3160A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5271" y="546205"/>
            <a:ext cx="2205174" cy="1380338"/>
          </a:xfrm>
          <a:prstGeom prst="rect">
            <a:avLst/>
          </a:prstGeom>
        </p:spPr>
      </p:pic>
    </p:spTree>
    <p:extLst>
      <p:ext uri="{BB962C8B-B14F-4D97-AF65-F5344CB8AC3E}">
        <p14:creationId xmlns:p14="http://schemas.microsoft.com/office/powerpoint/2010/main" val="650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23">
            <a:extLst>
              <a:ext uri="{FF2B5EF4-FFF2-40B4-BE49-F238E27FC236}">
                <a16:creationId xmlns:a16="http://schemas.microsoft.com/office/drawing/2014/main" id="{1F256DD5-6568-B3D0-1D02-411E0802F654}"/>
              </a:ext>
            </a:extLst>
          </p:cNvPr>
          <p:cNvPicPr>
            <a:picLocks noGrp="1" noChangeAspect="1"/>
          </p:cNvPicPr>
          <p:nvPr>
            <p:ph sz="half" idx="1"/>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b="17719"/>
          <a:stretch/>
        </p:blipFill>
        <p:spPr>
          <a:xfrm>
            <a:off x="734363" y="2048302"/>
            <a:ext cx="2922734" cy="2404872"/>
          </a:xfrm>
        </p:spPr>
      </p:pic>
      <p:sp>
        <p:nvSpPr>
          <p:cNvPr id="18" name="Title 1">
            <a:extLst>
              <a:ext uri="{FF2B5EF4-FFF2-40B4-BE49-F238E27FC236}">
                <a16:creationId xmlns:a16="http://schemas.microsoft.com/office/drawing/2014/main" id="{E5360234-A6FA-4FE7-3C0B-C21B407E304B}"/>
              </a:ext>
            </a:extLst>
          </p:cNvPr>
          <p:cNvSpPr>
            <a:spLocks noGrp="1"/>
          </p:cNvSpPr>
          <p:nvPr>
            <p:ph type="title"/>
          </p:nvPr>
        </p:nvSpPr>
        <p:spPr>
          <a:xfrm>
            <a:off x="756356" y="793609"/>
            <a:ext cx="9469120" cy="426720"/>
          </a:xfrm>
        </p:spPr>
        <p:txBody>
          <a:bodyPr/>
          <a:lstStyle/>
          <a:p>
            <a:pPr>
              <a:defRPr sz="4400">
                <a:latin typeface="Calibri Light"/>
                <a:cs typeface="Open Sans"/>
              </a:defRPr>
            </a:pPr>
            <a:r>
              <a:t>Como os alunos conseguem empregos</a:t>
            </a:r>
          </a:p>
        </p:txBody>
      </p:sp>
      <p:sp>
        <p:nvSpPr>
          <p:cNvPr id="6" name="Slide Number Placeholder 5">
            <a:extLst>
              <a:ext uri="{FF2B5EF4-FFF2-40B4-BE49-F238E27FC236}">
                <a16:creationId xmlns:a16="http://schemas.microsoft.com/office/drawing/2014/main" id="{20646624-23AA-4112-2498-F78A4350593A}"/>
              </a:ext>
            </a:extLst>
          </p:cNvPr>
          <p:cNvSpPr>
            <a:spLocks noGrp="1"/>
          </p:cNvSpPr>
          <p:nvPr>
            <p:ph type="sldNum" sz="quarter" idx="12"/>
          </p:nvPr>
        </p:nvSpPr>
        <p:spPr/>
        <p:txBody>
          <a:bodyPr/>
          <a:lstStyle/>
          <a:p>
            <a:fld id="{6DD660AA-F4B9-9E4A-970E-DF14D91E0EC0}" type="slidenum">
              <a:rPr lang="en-US" smtClean="0"/>
              <a:t>9</a:t>
            </a:fld>
            <a:endParaRPr lang="en-US"/>
          </a:p>
        </p:txBody>
      </p:sp>
      <p:pic>
        <p:nvPicPr>
          <p:cNvPr id="13" name="Content Placeholder 15">
            <a:extLst>
              <a:ext uri="{FF2B5EF4-FFF2-40B4-BE49-F238E27FC236}">
                <a16:creationId xmlns:a16="http://schemas.microsoft.com/office/drawing/2014/main" id="{01A3FC43-DFC9-F444-9663-844F9993DB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62594" y="2404826"/>
            <a:ext cx="2048348" cy="2048348"/>
          </a:xfrm>
          <a:prstGeom prst="rect">
            <a:avLst/>
          </a:prstGeom>
        </p:spPr>
      </p:pic>
      <p:pic>
        <p:nvPicPr>
          <p:cNvPr id="14" name="Content Placeholder 19">
            <a:extLst>
              <a:ext uri="{FF2B5EF4-FFF2-40B4-BE49-F238E27FC236}">
                <a16:creationId xmlns:a16="http://schemas.microsoft.com/office/drawing/2014/main" id="{6074E156-2D2C-C853-A71B-0706B2FAC757}"/>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b="17719"/>
          <a:stretch/>
        </p:blipFill>
        <p:spPr>
          <a:xfrm>
            <a:off x="4630385" y="2222322"/>
            <a:ext cx="2922735" cy="2404872"/>
          </a:xfrm>
          <a:prstGeom prst="rect">
            <a:avLst/>
          </a:prstGeom>
        </p:spPr>
      </p:pic>
      <p:sp>
        <p:nvSpPr>
          <p:cNvPr id="15" name="TextBox 14">
            <a:extLst>
              <a:ext uri="{FF2B5EF4-FFF2-40B4-BE49-F238E27FC236}">
                <a16:creationId xmlns:a16="http://schemas.microsoft.com/office/drawing/2014/main" id="{BE770EFB-6961-C091-C1B2-C551AA033ED2}"/>
              </a:ext>
            </a:extLst>
          </p:cNvPr>
          <p:cNvSpPr txBox="1"/>
          <p:nvPr/>
        </p:nvSpPr>
        <p:spPr>
          <a:xfrm>
            <a:off x="241488" y="4811582"/>
            <a:ext cx="3908485"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lang="en-US" sz="2200" dirty="0">
                <a:latin typeface="Open Sans"/>
                <a:ea typeface="Open Sans"/>
                <a:cs typeface="Open Sans"/>
              </a:rPr>
              <a:t>EMPREGO LOCAL</a:t>
            </a:r>
          </a:p>
        </p:txBody>
      </p:sp>
      <p:sp>
        <p:nvSpPr>
          <p:cNvPr id="16" name="TextBox 15">
            <a:extLst>
              <a:ext uri="{FF2B5EF4-FFF2-40B4-BE49-F238E27FC236}">
                <a16:creationId xmlns:a16="http://schemas.microsoft.com/office/drawing/2014/main" id="{EFA081FD-9098-3A38-3995-211EBEBA672C}"/>
              </a:ext>
            </a:extLst>
          </p:cNvPr>
          <p:cNvSpPr txBox="1"/>
          <p:nvPr/>
        </p:nvSpPr>
        <p:spPr>
          <a:xfrm>
            <a:off x="8034729" y="4811582"/>
            <a:ext cx="3908485"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lang="en-US" sz="2200" dirty="0">
                <a:latin typeface="Open Sans"/>
                <a:ea typeface="Open Sans"/>
                <a:cs typeface="Open Sans"/>
              </a:rPr>
              <a:t>EMPREENDEDORISMO</a:t>
            </a:r>
            <a:endParaRPr kumimoji="0" lang="en-US" sz="2200" b="1" u="none" strike="noStrike" kern="1200" cap="none" spc="0" normalizeH="0" baseline="0" noProof="0" dirty="0">
              <a:ln>
                <a:noFill/>
              </a:ln>
              <a:solidFill>
                <a:srgbClr val="3A929D"/>
              </a:solidFill>
              <a:effectLst/>
              <a:uLnTx/>
              <a:uFillTx/>
              <a:latin typeface="Open Sans"/>
              <a:ea typeface="Open Sans"/>
              <a:cs typeface="Open Sans"/>
            </a:endParaRPr>
          </a:p>
        </p:txBody>
      </p:sp>
      <p:sp>
        <p:nvSpPr>
          <p:cNvPr id="17" name="TextBox 16">
            <a:extLst>
              <a:ext uri="{FF2B5EF4-FFF2-40B4-BE49-F238E27FC236}">
                <a16:creationId xmlns:a16="http://schemas.microsoft.com/office/drawing/2014/main" id="{971D078D-E770-9DDC-AAA4-4C5521326957}"/>
              </a:ext>
            </a:extLst>
          </p:cNvPr>
          <p:cNvSpPr txBox="1"/>
          <p:nvPr/>
        </p:nvSpPr>
        <p:spPr>
          <a:xfrm>
            <a:off x="4137509" y="4812228"/>
            <a:ext cx="3908485"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lang="en-US" sz="2200" dirty="0">
                <a:latin typeface="Open Sans"/>
                <a:ea typeface="Open Sans"/>
                <a:cs typeface="Open Sans"/>
              </a:rPr>
              <a:t>TRABALHOS REMOTOS</a:t>
            </a:r>
          </a:p>
        </p:txBody>
      </p:sp>
      <p:sp>
        <p:nvSpPr>
          <p:cNvPr id="3" name="Rectangle 2">
            <a:extLst>
              <a:ext uri="{FF2B5EF4-FFF2-40B4-BE49-F238E27FC236}">
                <a16:creationId xmlns:a16="http://schemas.microsoft.com/office/drawing/2014/main" id="{09FC9847-0286-029B-089D-EDBA69DD3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5" name="Picture 4" descr="Text  Description automatically generated">
            <a:extLst>
              <a:ext uri="{FF2B5EF4-FFF2-40B4-BE49-F238E27FC236}">
                <a16:creationId xmlns:a16="http://schemas.microsoft.com/office/drawing/2014/main" id="{040F7020-F9E4-8D7C-EB3F-832B4D4AD35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165265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21F31C-1FB1-9CF1-8BF2-426893DE041A}"/>
              </a:ext>
            </a:extLst>
          </p:cNvPr>
          <p:cNvSpPr/>
          <p:nvPr/>
        </p:nvSpPr>
        <p:spPr>
          <a:xfrm>
            <a:off x="4724399" y="3383214"/>
            <a:ext cx="6436291" cy="1603331"/>
          </a:xfrm>
          <a:prstGeom prst="rect">
            <a:avLst/>
          </a:prstGeom>
          <a:solidFill>
            <a:schemeClr val="bg1"/>
          </a:solidFill>
          <a:ln>
            <a:noFill/>
          </a:ln>
          <a:effectLst>
            <a:outerShdw blurRad="307163" dist="175218" dir="5400000" algn="t" rotWithShape="0">
              <a:prstClr val="black">
                <a:alpha val="10309"/>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1" name="Rectangle 20">
            <a:extLst>
              <a:ext uri="{FF2B5EF4-FFF2-40B4-BE49-F238E27FC236}">
                <a16:creationId xmlns:a16="http://schemas.microsoft.com/office/drawing/2014/main" id="{CC31E8D8-66FB-1FE8-789C-028F39D091BC}"/>
              </a:ext>
            </a:extLst>
          </p:cNvPr>
          <p:cNvSpPr/>
          <p:nvPr/>
        </p:nvSpPr>
        <p:spPr>
          <a:xfrm>
            <a:off x="4724399" y="1640910"/>
            <a:ext cx="6436291" cy="1603331"/>
          </a:xfrm>
          <a:prstGeom prst="rect">
            <a:avLst/>
          </a:prstGeom>
          <a:solidFill>
            <a:schemeClr val="bg1"/>
          </a:solidFill>
          <a:ln>
            <a:noFill/>
          </a:ln>
          <a:effectLst>
            <a:outerShdw blurRad="307163" dist="175218" dir="5400000" algn="t" rotWithShape="0">
              <a:prstClr val="black">
                <a:alpha val="10309"/>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3" name="Title 2">
            <a:extLst>
              <a:ext uri="{FF2B5EF4-FFF2-40B4-BE49-F238E27FC236}">
                <a16:creationId xmlns:a16="http://schemas.microsoft.com/office/drawing/2014/main" id="{A89DF289-C5D8-A740-07DB-8FADEEE5E2D7}"/>
              </a:ext>
            </a:extLst>
          </p:cNvPr>
          <p:cNvSpPr>
            <a:spLocks noGrp="1"/>
          </p:cNvSpPr>
          <p:nvPr>
            <p:ph type="title"/>
          </p:nvPr>
        </p:nvSpPr>
        <p:spPr/>
        <p:txBody>
          <a:bodyPr/>
          <a:lstStyle/>
          <a:p>
            <a:r>
              <a:rPr dirty="0" err="1">
                <a:cs typeface="Open Sans"/>
              </a:rPr>
              <a:t>Trabalhos</a:t>
            </a:r>
            <a:r>
              <a:rPr lang="en-US" dirty="0">
                <a:cs typeface="Open Sans"/>
              </a:rPr>
              <a:t> </a:t>
            </a:r>
            <a:r>
              <a:rPr lang="en-US" dirty="0" err="1">
                <a:cs typeface="Open Sans"/>
              </a:rPr>
              <a:t>Remotos</a:t>
            </a:r>
            <a:endParaRPr lang="en-US" dirty="0" err="1">
              <a:ea typeface="Roboto Slab Thin"/>
            </a:endParaRPr>
          </a:p>
        </p:txBody>
      </p:sp>
      <p:sp>
        <p:nvSpPr>
          <p:cNvPr id="9" name="TextBox 8">
            <a:extLst>
              <a:ext uri="{FF2B5EF4-FFF2-40B4-BE49-F238E27FC236}">
                <a16:creationId xmlns:a16="http://schemas.microsoft.com/office/drawing/2014/main" id="{4AD386F1-F22E-CF4B-4EF8-839D5722921A}"/>
              </a:ext>
            </a:extLst>
          </p:cNvPr>
          <p:cNvSpPr txBox="1"/>
          <p:nvPr/>
        </p:nvSpPr>
        <p:spPr>
          <a:xfrm>
            <a:off x="4705189" y="5182547"/>
            <a:ext cx="6530539" cy="1015663"/>
          </a:xfrm>
          <a:prstGeom prst="rect">
            <a:avLst/>
          </a:prstGeom>
          <a:noFill/>
        </p:spPr>
        <p:txBody>
          <a:bodyPr wrap="square" lIns="91440" tIns="45720" rIns="91440" bIns="45720" anchor="t">
            <a:spAutoFit/>
          </a:bodyPr>
          <a:lstStyle/>
          <a:p>
            <a:pPr marL="457200" indent="-457200" algn="l">
              <a:buFont typeface="Arial" panose="020B0604020202020204" pitchFamily="34" charset="0"/>
              <a:buChar char="•"/>
              <a:defRPr sz="2400">
                <a:solidFill>
                  <a:schemeClr val="bg2">
                    <a:lumMod val="25000"/>
                  </a:schemeClr>
                </a:solidFill>
              </a:defRPr>
            </a:pPr>
            <a:r>
              <a:rPr sz="2000" err="1"/>
              <a:t>Oportunidade</a:t>
            </a:r>
            <a:r>
              <a:rPr sz="2000" dirty="0"/>
              <a:t> </a:t>
            </a:r>
            <a:r>
              <a:rPr lang="en-US" sz="2000" dirty="0">
                <a:solidFill>
                  <a:srgbClr val="333333"/>
                </a:solidFill>
                <a:latin typeface="Open Sans Light"/>
                <a:ea typeface="Open Sans Light"/>
                <a:cs typeface="Segoe UI"/>
              </a:rPr>
              <a:t>crescendo</a:t>
            </a:r>
            <a:endParaRPr lang="en-US" sz="2000" dirty="0">
              <a:solidFill>
                <a:schemeClr val="bg2">
                  <a:lumMod val="25000"/>
                </a:schemeClr>
              </a:solidFill>
              <a:latin typeface="Open Sans Light"/>
              <a:ea typeface="Open Sans Light"/>
              <a:cs typeface="Calibri"/>
            </a:endParaRPr>
          </a:p>
          <a:p>
            <a:pPr marL="457200" indent="-457200" algn="l">
              <a:buFont typeface="Arial" panose="020B0604020202020204" pitchFamily="34" charset="0"/>
              <a:buChar char="•"/>
              <a:defRPr sz="2400">
                <a:solidFill>
                  <a:schemeClr val="bg2">
                    <a:lumMod val="25000"/>
                  </a:schemeClr>
                </a:solidFill>
              </a:defRPr>
            </a:pPr>
            <a:r>
              <a:rPr sz="2000" dirty="0"/>
              <a:t>Permite que </a:t>
            </a:r>
            <a:r>
              <a:rPr sz="2000" err="1"/>
              <a:t>os</a:t>
            </a:r>
            <a:r>
              <a:rPr sz="2000" dirty="0"/>
              <a:t> </a:t>
            </a:r>
            <a:r>
              <a:rPr sz="2000" err="1"/>
              <a:t>estudantes</a:t>
            </a:r>
            <a:r>
              <a:rPr sz="2000" dirty="0"/>
              <a:t> </a:t>
            </a:r>
            <a:r>
              <a:rPr sz="2000" err="1"/>
              <a:t>permaneçam</a:t>
            </a:r>
            <a:r>
              <a:rPr sz="2000" dirty="0"/>
              <a:t> </a:t>
            </a:r>
            <a:r>
              <a:rPr sz="2000" err="1"/>
              <a:t>nos</a:t>
            </a:r>
            <a:r>
              <a:rPr sz="2000" dirty="0"/>
              <a:t> </a:t>
            </a:r>
            <a:r>
              <a:rPr sz="2000" err="1"/>
              <a:t>países</a:t>
            </a:r>
            <a:r>
              <a:rPr sz="2000" dirty="0"/>
              <a:t> de </a:t>
            </a:r>
            <a:r>
              <a:rPr sz="2000" err="1"/>
              <a:t>origem</a:t>
            </a:r>
            <a:endParaRPr lang="en-US" sz="2000" err="1">
              <a:solidFill>
                <a:schemeClr val="bg2">
                  <a:lumMod val="25000"/>
                </a:schemeClr>
              </a:solidFill>
              <a:ea typeface="Calibri"/>
              <a:cs typeface="Calibri"/>
            </a:endParaRPr>
          </a:p>
        </p:txBody>
      </p:sp>
      <p:sp>
        <p:nvSpPr>
          <p:cNvPr id="10" name="TextBox 9">
            <a:extLst>
              <a:ext uri="{FF2B5EF4-FFF2-40B4-BE49-F238E27FC236}">
                <a16:creationId xmlns:a16="http://schemas.microsoft.com/office/drawing/2014/main" id="{8341FD57-6A23-9EAE-4BDD-CAC349729806}"/>
              </a:ext>
            </a:extLst>
          </p:cNvPr>
          <p:cNvSpPr txBox="1"/>
          <p:nvPr/>
        </p:nvSpPr>
        <p:spPr>
          <a:xfrm>
            <a:off x="6330901" y="1642517"/>
            <a:ext cx="1800493" cy="707886"/>
          </a:xfrm>
          <a:prstGeom prst="rect">
            <a:avLst/>
          </a:prstGeom>
          <a:noFill/>
        </p:spPr>
        <p:txBody>
          <a:bodyPr wrap="none">
            <a:spAutoFit/>
          </a:bodyPr>
          <a:lstStyle/>
          <a:p>
            <a:pPr>
              <a:defRPr sz="4000" b="1">
                <a:solidFill>
                  <a:schemeClr val="accent2"/>
                </a:solidFill>
                <a:latin typeface="Open Sans" panose="020B0606030504020204" pitchFamily="34" charset="0"/>
                <a:ea typeface="Open Sans" panose="020B0606030504020204" pitchFamily="34" charset="0"/>
                <a:cs typeface="Open Sans" panose="020B0606030504020204" pitchFamily="34" charset="0"/>
              </a:defRPr>
            </a:pPr>
            <a:r>
              <a:t>Mais de 1.300</a:t>
            </a:r>
          </a:p>
        </p:txBody>
      </p:sp>
      <p:sp>
        <p:nvSpPr>
          <p:cNvPr id="12" name="TextBox 11">
            <a:extLst>
              <a:ext uri="{FF2B5EF4-FFF2-40B4-BE49-F238E27FC236}">
                <a16:creationId xmlns:a16="http://schemas.microsoft.com/office/drawing/2014/main" id="{6C59D464-D814-8A2A-D041-1B74971D1040}"/>
              </a:ext>
            </a:extLst>
          </p:cNvPr>
          <p:cNvSpPr txBox="1"/>
          <p:nvPr/>
        </p:nvSpPr>
        <p:spPr>
          <a:xfrm>
            <a:off x="6334021" y="2315572"/>
            <a:ext cx="4969060" cy="830997"/>
          </a:xfrm>
          <a:prstGeom prst="rect">
            <a:avLst/>
          </a:prstGeom>
          <a:noFill/>
        </p:spPr>
        <p:txBody>
          <a:bodyPr wrap="square" lIns="91440" tIns="45720" rIns="91440" bIns="45720" anchor="t">
            <a:spAutoFit/>
          </a:bodyPr>
          <a:lstStyle/>
          <a:p>
            <a:pPr>
              <a:defRPr sz="2400">
                <a:solidFill>
                  <a:schemeClr val="bg2">
                    <a:lumMod val="25000"/>
                  </a:schemeClr>
                </a:solidFill>
              </a:defRPr>
            </a:pPr>
            <a:r>
              <a:t>Estudantes </a:t>
            </a:r>
            <a:r>
              <a:rPr err="1"/>
              <a:t>conseguiram</a:t>
            </a:r>
            <a:r>
              <a:t> </a:t>
            </a:r>
            <a:r>
              <a:rPr err="1"/>
              <a:t>empregos</a:t>
            </a:r>
            <a:r>
              <a:t> </a:t>
            </a:r>
            <a:r>
              <a:rPr err="1"/>
              <a:t>remotos</a:t>
            </a:r>
            <a:r>
              <a:t> </a:t>
            </a:r>
            <a:r>
              <a:rPr err="1"/>
              <a:t>em</a:t>
            </a:r>
            <a:r>
              <a:t> 2022</a:t>
            </a:r>
          </a:p>
        </p:txBody>
      </p:sp>
      <p:pic>
        <p:nvPicPr>
          <p:cNvPr id="15" name="Picture 14" descr="Icon  Description automatically generated">
            <a:extLst>
              <a:ext uri="{FF2B5EF4-FFF2-40B4-BE49-F238E27FC236}">
                <a16:creationId xmlns:a16="http://schemas.microsoft.com/office/drawing/2014/main" id="{8A83AB06-9D28-F46A-961D-EF3C41462677}"/>
              </a:ext>
            </a:extLst>
          </p:cNvPr>
          <p:cNvPicPr>
            <a:picLocks noChangeAspect="1"/>
          </p:cNvPicPr>
          <p:nvPr/>
        </p:nvPicPr>
        <p:blipFill>
          <a:blip r:embed="rId4"/>
          <a:stretch>
            <a:fillRect/>
          </a:stretch>
        </p:blipFill>
        <p:spPr>
          <a:xfrm>
            <a:off x="5002280" y="1290010"/>
            <a:ext cx="1258518" cy="1258518"/>
          </a:xfrm>
          <a:prstGeom prst="rect">
            <a:avLst/>
          </a:prstGeom>
        </p:spPr>
      </p:pic>
      <p:sp>
        <p:nvSpPr>
          <p:cNvPr id="16" name="TextBox 15">
            <a:extLst>
              <a:ext uri="{FF2B5EF4-FFF2-40B4-BE49-F238E27FC236}">
                <a16:creationId xmlns:a16="http://schemas.microsoft.com/office/drawing/2014/main" id="{5A735293-87D8-8CAC-E0CA-70E6BB935B57}"/>
              </a:ext>
            </a:extLst>
          </p:cNvPr>
          <p:cNvSpPr txBox="1"/>
          <p:nvPr/>
        </p:nvSpPr>
        <p:spPr>
          <a:xfrm>
            <a:off x="6260798" y="3684458"/>
            <a:ext cx="6569900" cy="461665"/>
          </a:xfrm>
          <a:prstGeom prst="rect">
            <a:avLst/>
          </a:prstGeom>
          <a:noFill/>
        </p:spPr>
        <p:txBody>
          <a:bodyPr wrap="square">
            <a:spAutoFit/>
          </a:bodyPr>
          <a:lstStyle/>
          <a:p>
            <a:pPr>
              <a:defRPr sz="2400">
                <a:solidFill>
                  <a:schemeClr val="bg2">
                    <a:lumMod val="25000"/>
                  </a:schemeClr>
                </a:solidFill>
              </a:defRPr>
            </a:pPr>
            <a:r>
              <a:t>Aumento médio da renda de</a:t>
            </a:r>
            <a:endParaRPr lang="en-US" sz="2400"/>
          </a:p>
        </p:txBody>
      </p:sp>
      <p:sp>
        <p:nvSpPr>
          <p:cNvPr id="18" name="TextBox 17">
            <a:extLst>
              <a:ext uri="{FF2B5EF4-FFF2-40B4-BE49-F238E27FC236}">
                <a16:creationId xmlns:a16="http://schemas.microsoft.com/office/drawing/2014/main" id="{02FBDC5A-D8BC-1372-6317-A0725F7EF076}"/>
              </a:ext>
            </a:extLst>
          </p:cNvPr>
          <p:cNvSpPr txBox="1"/>
          <p:nvPr/>
        </p:nvSpPr>
        <p:spPr>
          <a:xfrm>
            <a:off x="6263170" y="4145812"/>
            <a:ext cx="1372492" cy="707886"/>
          </a:xfrm>
          <a:prstGeom prst="rect">
            <a:avLst/>
          </a:prstGeom>
          <a:noFill/>
        </p:spPr>
        <p:txBody>
          <a:bodyPr wrap="none">
            <a:spAutoFit/>
          </a:bodyPr>
          <a:lstStyle/>
          <a:p>
            <a:pPr>
              <a:defRPr sz="4000" b="1">
                <a:solidFill>
                  <a:schemeClr val="accent4"/>
                </a:solidFill>
                <a:latin typeface="Open Sans" panose="020B0606030504020204" pitchFamily="34" charset="0"/>
                <a:ea typeface="Open Sans" panose="020B0606030504020204" pitchFamily="34" charset="0"/>
                <a:cs typeface="Open Sans" panose="020B0606030504020204" pitchFamily="34" charset="0"/>
              </a:defRPr>
            </a:pPr>
            <a:r>
              <a:t>200</a:t>
            </a:r>
            <a:r>
              <a:rPr baseline="30000"/>
              <a:t>%</a:t>
            </a:r>
          </a:p>
        </p:txBody>
      </p:sp>
      <p:pic>
        <p:nvPicPr>
          <p:cNvPr id="20" name="Picture 19" descr="Icon  Description automatically generated">
            <a:extLst>
              <a:ext uri="{FF2B5EF4-FFF2-40B4-BE49-F238E27FC236}">
                <a16:creationId xmlns:a16="http://schemas.microsoft.com/office/drawing/2014/main" id="{D2F16718-1BFF-1308-92C5-75C13A9DA4FC}"/>
              </a:ext>
            </a:extLst>
          </p:cNvPr>
          <p:cNvPicPr>
            <a:picLocks noChangeAspect="1"/>
          </p:cNvPicPr>
          <p:nvPr/>
        </p:nvPicPr>
        <p:blipFill>
          <a:blip r:embed="rId5"/>
          <a:stretch>
            <a:fillRect/>
          </a:stretch>
        </p:blipFill>
        <p:spPr>
          <a:xfrm rot="10800000">
            <a:off x="5091087" y="3568972"/>
            <a:ext cx="1080903" cy="1080903"/>
          </a:xfrm>
          <a:prstGeom prst="rect">
            <a:avLst/>
          </a:prstGeom>
        </p:spPr>
      </p:pic>
      <p:sp>
        <p:nvSpPr>
          <p:cNvPr id="23" name="Slide Number Placeholder 22">
            <a:extLst>
              <a:ext uri="{FF2B5EF4-FFF2-40B4-BE49-F238E27FC236}">
                <a16:creationId xmlns:a16="http://schemas.microsoft.com/office/drawing/2014/main" id="{EB433D99-F3C8-EBE0-4A69-826FF95E31CC}"/>
              </a:ext>
            </a:extLst>
          </p:cNvPr>
          <p:cNvSpPr>
            <a:spLocks noGrp="1"/>
          </p:cNvSpPr>
          <p:nvPr>
            <p:ph type="sldNum" sz="quarter" idx="12"/>
          </p:nvPr>
        </p:nvSpPr>
        <p:spPr/>
        <p:txBody>
          <a:bodyPr/>
          <a:lstStyle/>
          <a:p>
            <a:fld id="{6DD660AA-F4B9-9E4A-970E-DF14D91E0EC0}" type="slidenum">
              <a:rPr lang="en-US" smtClean="0"/>
              <a:t>10</a:t>
            </a:fld>
            <a:endParaRPr lang="en-US"/>
          </a:p>
        </p:txBody>
      </p:sp>
      <p:pic>
        <p:nvPicPr>
          <p:cNvPr id="2" name="Picture 3">
            <a:extLst>
              <a:ext uri="{FF2B5EF4-FFF2-40B4-BE49-F238E27FC236}">
                <a16:creationId xmlns:a16="http://schemas.microsoft.com/office/drawing/2014/main" id="{ABCF82B9-C207-3268-181B-F5D4C1879066}"/>
              </a:ext>
            </a:extLst>
          </p:cNvPr>
          <p:cNvPicPr>
            <a:picLocks noChangeAspect="1"/>
          </p:cNvPicPr>
          <p:nvPr/>
        </p:nvPicPr>
        <p:blipFill rotWithShape="1">
          <a:blip r:embed="rId6"/>
          <a:srcRect l="7336" t="-214" r="1339" b="78"/>
          <a:stretch/>
        </p:blipFill>
        <p:spPr>
          <a:xfrm>
            <a:off x="622852" y="-13253"/>
            <a:ext cx="3794141" cy="6203817"/>
          </a:xfrm>
          <a:prstGeom prst="rect">
            <a:avLst/>
          </a:prstGeom>
        </p:spPr>
      </p:pic>
    </p:spTree>
    <p:extLst>
      <p:ext uri="{BB962C8B-B14F-4D97-AF65-F5344CB8AC3E}">
        <p14:creationId xmlns:p14="http://schemas.microsoft.com/office/powerpoint/2010/main" val="17537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57A1E5-BB56-3949-BF3A-C64C36CAB647}"/>
              </a:ext>
            </a:extLst>
          </p:cNvPr>
          <p:cNvSpPr>
            <a:spLocks noGrp="1"/>
          </p:cNvSpPr>
          <p:nvPr>
            <p:ph type="body" sz="quarter" idx="13"/>
          </p:nvPr>
        </p:nvSpPr>
        <p:spPr>
          <a:xfrm>
            <a:off x="4962321" y="1470610"/>
            <a:ext cx="6227220" cy="3228343"/>
          </a:xfrm>
        </p:spPr>
        <p:txBody>
          <a:bodyPr>
            <a:normAutofit/>
          </a:bodyPr>
          <a:lstStyle/>
          <a:p>
            <a:pPr marL="172720" indent="-172720">
              <a:defRPr>
                <a:latin typeface="Calibri Light"/>
                <a:ea typeface="Open Sans"/>
                <a:cs typeface="Open Sans"/>
              </a:defRPr>
            </a:pPr>
            <a:r>
              <a:rPr lang="en-US" dirty="0"/>
              <a:t>"Agora</a:t>
            </a:r>
            <a:r>
              <a:rPr dirty="0"/>
              <a:t> </a:t>
            </a:r>
            <a:r>
              <a:rPr dirty="0" err="1"/>
              <a:t>ganho</a:t>
            </a:r>
            <a:r>
              <a:rPr dirty="0"/>
              <a:t> o </a:t>
            </a:r>
            <a:r>
              <a:rPr dirty="0" err="1"/>
              <a:t>triplo</a:t>
            </a:r>
            <a:r>
              <a:rPr dirty="0"/>
              <a:t> do </a:t>
            </a:r>
            <a:r>
              <a:rPr dirty="0" err="1"/>
              <a:t>salário</a:t>
            </a:r>
            <a:r>
              <a:rPr dirty="0"/>
              <a:t> </a:t>
            </a:r>
            <a:r>
              <a:rPr dirty="0" err="1"/>
              <a:t>mínimo</a:t>
            </a:r>
            <a:r>
              <a:rPr dirty="0"/>
              <a:t>. </a:t>
            </a:r>
            <a:r>
              <a:rPr dirty="0" err="1"/>
              <a:t>Foi</a:t>
            </a:r>
            <a:r>
              <a:rPr dirty="0"/>
              <a:t> a </a:t>
            </a:r>
            <a:r>
              <a:rPr dirty="0" err="1"/>
              <a:t>primeira</a:t>
            </a:r>
            <a:r>
              <a:rPr dirty="0"/>
              <a:t> </a:t>
            </a:r>
            <a:r>
              <a:rPr dirty="0" err="1"/>
              <a:t>vez</a:t>
            </a:r>
            <a:r>
              <a:rPr dirty="0"/>
              <a:t> que vi </a:t>
            </a:r>
            <a:r>
              <a:rPr dirty="0" err="1"/>
              <a:t>minha</a:t>
            </a:r>
            <a:r>
              <a:rPr dirty="0"/>
              <a:t> </a:t>
            </a:r>
            <a:r>
              <a:rPr dirty="0" err="1"/>
              <a:t>família</a:t>
            </a:r>
            <a:r>
              <a:rPr dirty="0"/>
              <a:t> </a:t>
            </a:r>
            <a:r>
              <a:rPr dirty="0" err="1"/>
              <a:t>comendo</a:t>
            </a:r>
            <a:r>
              <a:rPr dirty="0"/>
              <a:t> comida </a:t>
            </a:r>
            <a:r>
              <a:rPr dirty="0" err="1"/>
              <a:t>suficiente</a:t>
            </a:r>
            <a:r>
              <a:rPr dirty="0"/>
              <a:t> e me </a:t>
            </a:r>
            <a:r>
              <a:rPr dirty="0" err="1"/>
              <a:t>preocupando</a:t>
            </a:r>
            <a:r>
              <a:rPr dirty="0"/>
              <a:t> </a:t>
            </a:r>
            <a:r>
              <a:rPr dirty="0" err="1"/>
              <a:t>menos</a:t>
            </a:r>
            <a:r>
              <a:rPr dirty="0"/>
              <a:t> com o </a:t>
            </a:r>
            <a:r>
              <a:rPr dirty="0" err="1"/>
              <a:t>amanhã</a:t>
            </a:r>
            <a:r>
              <a:rPr dirty="0"/>
              <a:t>. Agora </a:t>
            </a:r>
            <a:r>
              <a:rPr dirty="0" err="1"/>
              <a:t>estou</a:t>
            </a:r>
            <a:r>
              <a:rPr dirty="0"/>
              <a:t> a </a:t>
            </a:r>
            <a:r>
              <a:rPr dirty="0" err="1"/>
              <a:t>apenas</a:t>
            </a:r>
            <a:r>
              <a:rPr dirty="0"/>
              <a:t> </a:t>
            </a:r>
            <a:r>
              <a:rPr dirty="0" err="1"/>
              <a:t>alguns</a:t>
            </a:r>
            <a:r>
              <a:rPr dirty="0"/>
              <a:t> meses de </a:t>
            </a:r>
            <a:r>
              <a:rPr dirty="0" err="1"/>
              <a:t>terminar</a:t>
            </a:r>
            <a:r>
              <a:rPr dirty="0"/>
              <a:t> meu </a:t>
            </a:r>
            <a:r>
              <a:rPr dirty="0" err="1"/>
              <a:t>primeiro</a:t>
            </a:r>
            <a:r>
              <a:rPr dirty="0"/>
              <a:t> </a:t>
            </a:r>
            <a:r>
              <a:rPr dirty="0" err="1"/>
              <a:t>certificado</a:t>
            </a:r>
            <a:r>
              <a:rPr dirty="0"/>
              <a:t> </a:t>
            </a:r>
            <a:r>
              <a:rPr dirty="0" err="1"/>
              <a:t>como</a:t>
            </a:r>
            <a:r>
              <a:rPr dirty="0"/>
              <a:t> </a:t>
            </a:r>
            <a:r>
              <a:rPr dirty="0" err="1"/>
              <a:t>engenheiro</a:t>
            </a:r>
            <a:r>
              <a:rPr dirty="0"/>
              <a:t> de </a:t>
            </a:r>
            <a:r>
              <a:rPr dirty="0" err="1"/>
              <a:t>suporte</a:t>
            </a:r>
            <a:r>
              <a:t> técnico</a:t>
            </a:r>
            <a:r>
              <a:rPr lang="en-US"/>
              <a:t>."</a:t>
            </a:r>
            <a:endParaRPr dirty="0"/>
          </a:p>
        </p:txBody>
      </p:sp>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131468" y="4705638"/>
            <a:ext cx="6207125" cy="962488"/>
          </a:xfrm>
        </p:spPr>
        <p:txBody>
          <a:bodyPr>
            <a:normAutofit/>
          </a:bodyPr>
          <a:lstStyle/>
          <a:p>
            <a:pPr marL="4445">
              <a:defRPr sz="2000">
                <a:latin typeface="Calibri Light"/>
                <a:ea typeface="Open Sans"/>
                <a:cs typeface="Open Sans"/>
              </a:defRPr>
            </a:pPr>
            <a:r>
              <a:t>JONATHAN ORDILLAS</a:t>
            </a:r>
          </a:p>
          <a:p>
            <a:pPr marL="4445">
              <a:defRPr i="1">
                <a:latin typeface="Calibri Light"/>
                <a:ea typeface="Open Sans"/>
                <a:cs typeface="Open Sans"/>
              </a:defRPr>
            </a:pPr>
            <a:r>
              <a:t>Filipinas</a:t>
            </a:r>
            <a:endParaRPr lang="en-US">
              <a:latin typeface="Calibri Light"/>
              <a:ea typeface="Open Sans"/>
              <a:cs typeface="Open Sans"/>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1</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5" name="Picture Placeholder 14">
            <a:extLst>
              <a:ext uri="{FF2B5EF4-FFF2-40B4-BE49-F238E27FC236}">
                <a16:creationId xmlns:a16="http://schemas.microsoft.com/office/drawing/2014/main" id="{6C3C29F9-ED91-494B-33B7-99062A0E7D15}"/>
              </a:ext>
            </a:extLst>
          </p:cNvPr>
          <p:cNvPicPr>
            <a:picLocks noGrp="1" noChangeAspect="1"/>
          </p:cNvPicPr>
          <p:nvPr>
            <p:ph type="pic" idx="1"/>
          </p:nvPr>
        </p:nvPicPr>
        <p:blipFill rotWithShape="1">
          <a:blip r:embed="rId5" cstate="screen">
            <a:extLst>
              <a:ext uri="{28A0092B-C50C-407E-A947-70E740481C1C}">
                <a14:useLocalDpi xmlns:a14="http://schemas.microsoft.com/office/drawing/2010/main"/>
              </a:ext>
            </a:extLst>
          </a:blip>
          <a:srcRect/>
          <a:stretch/>
        </p:blipFill>
        <p:spPr>
          <a:xfrm>
            <a:off x="1259744" y="1364555"/>
            <a:ext cx="2916076" cy="4070960"/>
          </a:xfrm>
        </p:spPr>
      </p:pic>
    </p:spTree>
    <p:extLst>
      <p:ext uri="{BB962C8B-B14F-4D97-AF65-F5344CB8AC3E}">
        <p14:creationId xmlns:p14="http://schemas.microsoft.com/office/powerpoint/2010/main" val="38664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57A1E5-BB56-3949-BF3A-C64C36CAB647}"/>
              </a:ext>
            </a:extLst>
          </p:cNvPr>
          <p:cNvSpPr>
            <a:spLocks noGrp="1"/>
          </p:cNvSpPr>
          <p:nvPr>
            <p:ph type="body" sz="quarter" idx="13"/>
          </p:nvPr>
        </p:nvSpPr>
        <p:spPr>
          <a:xfrm>
            <a:off x="4819685" y="1700780"/>
            <a:ext cx="6014813" cy="3228343"/>
          </a:xfrm>
        </p:spPr>
        <p:txBody>
          <a:bodyPr>
            <a:normAutofit/>
          </a:bodyPr>
          <a:lstStyle/>
          <a:p>
            <a:pPr marL="172720" indent="-172720">
              <a:defRPr>
                <a:latin typeface="Calibri Light"/>
                <a:ea typeface="Open Sans"/>
                <a:cs typeface="Open Sans"/>
              </a:defRPr>
            </a:pPr>
            <a:r>
              <a:t>"Pensei que nunca terminaria minha graduação, e é ainda mais uma bênção que as habilidades que adquiri em busca de certificados levaram a uma carreira."</a:t>
            </a:r>
          </a:p>
        </p:txBody>
      </p:sp>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4987787" y="4333880"/>
            <a:ext cx="6207125" cy="962488"/>
          </a:xfrm>
        </p:spPr>
        <p:txBody>
          <a:bodyPr>
            <a:normAutofit/>
          </a:bodyPr>
          <a:lstStyle/>
          <a:p>
            <a:pPr marL="4445">
              <a:defRPr sz="2000">
                <a:latin typeface="Calibri Light"/>
                <a:ea typeface="Open Sans"/>
                <a:cs typeface="Open Sans"/>
              </a:defRPr>
            </a:pPr>
            <a:r>
              <a:t>CHRIS BLOUNT</a:t>
            </a:r>
          </a:p>
          <a:p>
            <a:pPr marL="4445">
              <a:defRPr i="1">
                <a:latin typeface="Calibri Light"/>
                <a:ea typeface="Open Sans"/>
                <a:cs typeface="Open Sans"/>
              </a:defRPr>
            </a:pPr>
            <a:r>
              <a:t>EUA</a:t>
            </a:r>
            <a:endParaRPr lang="en-US">
              <a:latin typeface="Calibri Light"/>
              <a:ea typeface="Open Sans"/>
              <a:cs typeface="Open Sans"/>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2</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2" name="Picture 5">
            <a:extLst>
              <a:ext uri="{FF2B5EF4-FFF2-40B4-BE49-F238E27FC236}">
                <a16:creationId xmlns:a16="http://schemas.microsoft.com/office/drawing/2014/main" id="{25F5284C-93E2-BAFD-BD8A-95BC2F617885}"/>
              </a:ext>
            </a:extLst>
          </p:cNvPr>
          <p:cNvPicPr>
            <a:picLocks noChangeAspect="1"/>
          </p:cNvPicPr>
          <p:nvPr/>
        </p:nvPicPr>
        <p:blipFill>
          <a:blip r:embed="rId4"/>
          <a:stretch>
            <a:fillRect/>
          </a:stretch>
        </p:blipFill>
        <p:spPr>
          <a:xfrm>
            <a:off x="1258957" y="1347217"/>
            <a:ext cx="2822713" cy="4084050"/>
          </a:xfrm>
          <a:prstGeom prst="rect">
            <a:avLst/>
          </a:prstGeom>
        </p:spPr>
      </p:pic>
    </p:spTree>
    <p:extLst>
      <p:ext uri="{BB962C8B-B14F-4D97-AF65-F5344CB8AC3E}">
        <p14:creationId xmlns:p14="http://schemas.microsoft.com/office/powerpoint/2010/main" val="191399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BAAC49E4-DAA1-2330-407C-E3EDD89D35FD}"/>
              </a:ext>
            </a:extLst>
          </p:cNvPr>
          <p:cNvPicPr>
            <a:picLocks noChangeAspect="1"/>
          </p:cNvPicPr>
          <p:nvPr/>
        </p:nvPicPr>
        <p:blipFill rotWithShape="1">
          <a:blip r:embed="rId3"/>
          <a:srcRect t="5280" r="-537" b="23622"/>
          <a:stretch/>
        </p:blipFill>
        <p:spPr>
          <a:xfrm>
            <a:off x="-231" y="1385"/>
            <a:ext cx="12281451" cy="5920286"/>
          </a:xfrm>
          <a:prstGeom prst="rect">
            <a:avLst/>
          </a:prstGeom>
        </p:spPr>
      </p:pic>
      <p:sp>
        <p:nvSpPr>
          <p:cNvPr id="3" name="Rectangle 2">
            <a:extLst>
              <a:ext uri="{FF2B5EF4-FFF2-40B4-BE49-F238E27FC236}">
                <a16:creationId xmlns:a16="http://schemas.microsoft.com/office/drawing/2014/main" id="{7C481D4E-3A9E-6581-F474-8B4DC57625E6}"/>
              </a:ext>
            </a:extLst>
          </p:cNvPr>
          <p:cNvSpPr/>
          <p:nvPr/>
        </p:nvSpPr>
        <p:spPr>
          <a:xfrm>
            <a:off x="-46214" y="5740886"/>
            <a:ext cx="12290555" cy="1119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1686331" y="5943588"/>
            <a:ext cx="9844087" cy="9111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t>Economize tempo e dinheiro</a:t>
            </a:r>
            <a:endParaRPr lang="en-US" sz="4800">
              <a:solidFill>
                <a:schemeClr val="bg1"/>
              </a:solidFill>
              <a:latin typeface="Roboto Slab Light"/>
            </a:endParaRPr>
          </a:p>
        </p:txBody>
      </p:sp>
      <p:sp>
        <p:nvSpPr>
          <p:cNvPr id="5" name="Rectangle 4">
            <a:extLst>
              <a:ext uri="{FF2B5EF4-FFF2-40B4-BE49-F238E27FC236}">
                <a16:creationId xmlns:a16="http://schemas.microsoft.com/office/drawing/2014/main" id="{07B22FE7-E9AD-1295-89CE-0E95D93FF3AF}"/>
              </a:ext>
            </a:extLst>
          </p:cNvPr>
          <p:cNvSpPr/>
          <p:nvPr/>
        </p:nvSpPr>
        <p:spPr>
          <a:xfrm>
            <a:off x="530043" y="5249262"/>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8" name="Graphic 8">
            <a:extLst>
              <a:ext uri="{FF2B5EF4-FFF2-40B4-BE49-F238E27FC236}">
                <a16:creationId xmlns:a16="http://schemas.microsoft.com/office/drawing/2014/main" id="{2E9F2A2E-C102-077C-0022-A9BC926B21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138" y="5472600"/>
            <a:ext cx="1000800" cy="1012800"/>
          </a:xfrm>
          <a:prstGeom prst="rect">
            <a:avLst/>
          </a:prstGeom>
        </p:spPr>
      </p:pic>
    </p:spTree>
    <p:extLst>
      <p:ext uri="{BB962C8B-B14F-4D97-AF65-F5344CB8AC3E}">
        <p14:creationId xmlns:p14="http://schemas.microsoft.com/office/powerpoint/2010/main" val="338837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4</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785369" y="1422484"/>
            <a:ext cx="6755593" cy="602826"/>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Opção de baixo custo</a:t>
            </a:r>
          </a:p>
        </p:txBody>
      </p:sp>
      <p:sp>
        <p:nvSpPr>
          <p:cNvPr id="2" name="Rectangle 1">
            <a:extLst>
              <a:ext uri="{FF2B5EF4-FFF2-40B4-BE49-F238E27FC236}">
                <a16:creationId xmlns:a16="http://schemas.microsoft.com/office/drawing/2014/main" id="{77C01B92-77F4-0A39-C1D5-76BF30E3689A}"/>
              </a:ext>
            </a:extLst>
          </p:cNvPr>
          <p:cNvSpPr/>
          <p:nvPr/>
        </p:nvSpPr>
        <p:spPr>
          <a:xfrm>
            <a:off x="785369" y="2323499"/>
            <a:ext cx="5870841" cy="1190967"/>
          </a:xfrm>
          <a:prstGeom prst="rect">
            <a:avLst/>
          </a:prstGeom>
        </p:spPr>
        <p:txBody>
          <a:bodyPr wrap="square" lIns="91440" tIns="45720" rIns="91440" bIns="45720" anchor="t">
            <a:spAutoFit/>
          </a:bodyPr>
          <a:lstStyle/>
          <a:p>
            <a:pPr>
              <a:lnSpc>
                <a:spcPct val="110000"/>
              </a:lnSpc>
              <a:defRPr sz="2200"/>
            </a:pPr>
            <a:r>
              <a:t>As mensalidades da BYU-Pathway Worldwide são significativamente reduzidas. Varia por país e está definido para corresponder às circunstâncias econômicas dos residentes locais.</a:t>
            </a:r>
          </a:p>
        </p:txBody>
      </p:sp>
      <p:sp>
        <p:nvSpPr>
          <p:cNvPr id="3" name="Rectangle 2">
            <a:extLst>
              <a:ext uri="{FF2B5EF4-FFF2-40B4-BE49-F238E27FC236}">
                <a16:creationId xmlns:a16="http://schemas.microsoft.com/office/drawing/2014/main" id="{BE07B411-CDC2-D3FF-7B15-5B15B41B0571}"/>
              </a:ext>
            </a:extLst>
          </p:cNvPr>
          <p:cNvSpPr/>
          <p:nvPr/>
        </p:nvSpPr>
        <p:spPr>
          <a:xfrm>
            <a:off x="785263" y="4144643"/>
            <a:ext cx="6103659" cy="1490536"/>
          </a:xfrm>
          <a:prstGeom prst="rect">
            <a:avLst/>
          </a:prstGeom>
        </p:spPr>
        <p:txBody>
          <a:bodyPr wrap="square">
            <a:spAutoFit/>
          </a:bodyPr>
          <a:lstStyle/>
          <a:p>
            <a:pPr>
              <a:lnSpc>
                <a:spcPct val="110000"/>
              </a:lnSpc>
              <a:spcAft>
                <a:spcPts val="300"/>
              </a:spcAft>
              <a:defRPr sz="2800" b="1">
                <a:solidFill>
                  <a:srgbClr val="3A929D"/>
                </a:solidFill>
              </a:defRPr>
            </a:pPr>
            <a:r>
              <a:t>Todos os estudantes têm direito a um desconto garantido com bolsas de 10, 25 ou 50%!</a:t>
            </a:r>
          </a:p>
        </p:txBody>
      </p:sp>
      <p:pic>
        <p:nvPicPr>
          <p:cNvPr id="12" name="Graphic 11">
            <a:extLst>
              <a:ext uri="{FF2B5EF4-FFF2-40B4-BE49-F238E27FC236}">
                <a16:creationId xmlns:a16="http://schemas.microsoft.com/office/drawing/2014/main" id="{4E218C42-2E0B-B361-A1B2-1B67D78533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8751" y="2475325"/>
            <a:ext cx="2722728" cy="2722728"/>
          </a:xfrm>
          <a:prstGeom prst="rect">
            <a:avLst/>
          </a:prstGeom>
        </p:spPr>
      </p:pic>
    </p:spTree>
    <p:extLst>
      <p:ext uri="{BB962C8B-B14F-4D97-AF65-F5344CB8AC3E}">
        <p14:creationId xmlns:p14="http://schemas.microsoft.com/office/powerpoint/2010/main" val="144197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5</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785369" y="1422484"/>
            <a:ext cx="6755593" cy="602826"/>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Opção de baixo custo</a:t>
            </a:r>
          </a:p>
        </p:txBody>
      </p:sp>
      <p:sp>
        <p:nvSpPr>
          <p:cNvPr id="2" name="Rectangle 1">
            <a:extLst>
              <a:ext uri="{FF2B5EF4-FFF2-40B4-BE49-F238E27FC236}">
                <a16:creationId xmlns:a16="http://schemas.microsoft.com/office/drawing/2014/main" id="{77C01B92-77F4-0A39-C1D5-76BF30E3689A}"/>
              </a:ext>
            </a:extLst>
          </p:cNvPr>
          <p:cNvSpPr/>
          <p:nvPr/>
        </p:nvSpPr>
        <p:spPr>
          <a:xfrm>
            <a:off x="785369" y="2323499"/>
            <a:ext cx="5870841" cy="1190967"/>
          </a:xfrm>
          <a:prstGeom prst="rect">
            <a:avLst/>
          </a:prstGeom>
        </p:spPr>
        <p:txBody>
          <a:bodyPr wrap="square" lIns="91440" tIns="45720" rIns="91440" bIns="45720" anchor="t">
            <a:spAutoFit/>
          </a:bodyPr>
          <a:lstStyle/>
          <a:p>
            <a:pPr>
              <a:lnSpc>
                <a:spcPct val="110000"/>
              </a:lnSpc>
              <a:defRPr sz="2200"/>
            </a:pPr>
            <a:r>
              <a:t>As mensalidades da BYU-Pathway Worldwide são significativamente reduzidas. Varia por país e está definido para corresponder às circunstâncias econômicas dos residentes locais.</a:t>
            </a:r>
          </a:p>
        </p:txBody>
      </p:sp>
      <p:sp>
        <p:nvSpPr>
          <p:cNvPr id="3" name="Rectangle 2">
            <a:extLst>
              <a:ext uri="{FF2B5EF4-FFF2-40B4-BE49-F238E27FC236}">
                <a16:creationId xmlns:a16="http://schemas.microsoft.com/office/drawing/2014/main" id="{BE07B411-CDC2-D3FF-7B15-5B15B41B0571}"/>
              </a:ext>
            </a:extLst>
          </p:cNvPr>
          <p:cNvSpPr/>
          <p:nvPr/>
        </p:nvSpPr>
        <p:spPr>
          <a:xfrm>
            <a:off x="785263" y="4144643"/>
            <a:ext cx="6110063" cy="1490536"/>
          </a:xfrm>
          <a:prstGeom prst="rect">
            <a:avLst/>
          </a:prstGeom>
        </p:spPr>
        <p:txBody>
          <a:bodyPr wrap="square">
            <a:spAutoFit/>
          </a:bodyPr>
          <a:lstStyle/>
          <a:p>
            <a:pPr>
              <a:lnSpc>
                <a:spcPct val="110000"/>
              </a:lnSpc>
              <a:spcAft>
                <a:spcPts val="300"/>
              </a:spcAft>
              <a:defRPr sz="2800" b="1">
                <a:solidFill>
                  <a:srgbClr val="3A929D"/>
                </a:solidFill>
              </a:defRPr>
            </a:pPr>
            <a:r>
              <a:t>Todos os estudantes têm direito a um desconto garantido com bolsas de 10, 25 ou 50%!</a:t>
            </a:r>
          </a:p>
        </p:txBody>
      </p:sp>
      <p:sp>
        <p:nvSpPr>
          <p:cNvPr id="5" name="Oval 4">
            <a:extLst>
              <a:ext uri="{FF2B5EF4-FFF2-40B4-BE49-F238E27FC236}">
                <a16:creationId xmlns:a16="http://schemas.microsoft.com/office/drawing/2014/main" id="{ED6886AA-EEE7-9E02-E4DF-0DAF0C60BD8A}"/>
              </a:ext>
            </a:extLst>
          </p:cNvPr>
          <p:cNvSpPr/>
          <p:nvPr/>
        </p:nvSpPr>
        <p:spPr>
          <a:xfrm>
            <a:off x="8695283" y="2126070"/>
            <a:ext cx="1965278" cy="1965278"/>
          </a:xfrm>
          <a:prstGeom prst="ellipse">
            <a:avLst/>
          </a:prstGeom>
          <a:solidFill>
            <a:schemeClr val="bg1"/>
          </a:solid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anchor="ctr"/>
          <a:lstStyle/>
          <a:p>
            <a:pPr algn="ctr">
              <a:defRPr sz="6000">
                <a:solidFill>
                  <a:schemeClr val="tx2">
                    <a:lumMod val="90000"/>
                    <a:lumOff val="10000"/>
                  </a:schemeClr>
                </a:solidFill>
                <a:latin typeface="+mj-lt"/>
              </a:defRPr>
            </a:pPr>
            <a:r>
              <a:t>$81</a:t>
            </a:r>
            <a:endParaRPr lang="en-US" sz="6000">
              <a:solidFill>
                <a:schemeClr val="tx2">
                  <a:lumMod val="90000"/>
                  <a:lumOff val="10000"/>
                </a:schemeClr>
              </a:solidFill>
              <a:latin typeface="+mj-lt"/>
              <a:cs typeface="Calibri Light"/>
            </a:endParaRPr>
          </a:p>
        </p:txBody>
      </p:sp>
      <p:pic>
        <p:nvPicPr>
          <p:cNvPr id="13" name="Graphic 12">
            <a:extLst>
              <a:ext uri="{FF2B5EF4-FFF2-40B4-BE49-F238E27FC236}">
                <a16:creationId xmlns:a16="http://schemas.microsoft.com/office/drawing/2014/main" id="{65841166-D978-FF83-76B3-A422F435D7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85391" y="2471863"/>
            <a:ext cx="2722728" cy="2722728"/>
          </a:xfrm>
          <a:prstGeom prst="rect">
            <a:avLst/>
          </a:prstGeom>
        </p:spPr>
      </p:pic>
      <p:sp>
        <p:nvSpPr>
          <p:cNvPr id="8" name="TextBox 7">
            <a:extLst>
              <a:ext uri="{FF2B5EF4-FFF2-40B4-BE49-F238E27FC236}">
                <a16:creationId xmlns:a16="http://schemas.microsoft.com/office/drawing/2014/main" id="{5864B0E4-E93F-F74B-7825-C74E2D53DD66}"/>
              </a:ext>
            </a:extLst>
          </p:cNvPr>
          <p:cNvSpPr txBox="1"/>
          <p:nvPr/>
        </p:nvSpPr>
        <p:spPr>
          <a:xfrm>
            <a:off x="9179559" y="4299149"/>
            <a:ext cx="2512611" cy="707886"/>
          </a:xfrm>
          <a:prstGeom prst="rect">
            <a:avLst/>
          </a:prstGeom>
          <a:noFill/>
        </p:spPr>
        <p:txBody>
          <a:bodyPr wrap="none" lIns="91440" tIns="45720" rIns="91440" bIns="45720" anchor="t">
            <a:spAutoFit/>
          </a:bodyPr>
          <a:lstStyle/>
          <a:p>
            <a:pPr>
              <a:defRPr sz="2400"/>
            </a:pPr>
            <a:r>
              <a:rPr sz="2000" dirty="0" err="1"/>
              <a:t>por</a:t>
            </a:r>
            <a:r>
              <a:rPr sz="2000" dirty="0"/>
              <a:t> </a:t>
            </a:r>
            <a:r>
              <a:rPr sz="2000" dirty="0" err="1"/>
              <a:t>crédito</a:t>
            </a:r>
            <a:r>
              <a:rPr sz="2000" dirty="0"/>
              <a:t> </a:t>
            </a:r>
            <a:r>
              <a:rPr sz="2000" dirty="0" err="1"/>
              <a:t>nos</a:t>
            </a:r>
            <a:endParaRPr lang="en-US" sz="2000" dirty="0" err="1">
              <a:cs typeface="Calibri"/>
            </a:endParaRPr>
          </a:p>
          <a:p>
            <a:pPr>
              <a:defRPr sz="2400"/>
            </a:pPr>
            <a:r>
              <a:rPr sz="2000" dirty="0" err="1"/>
              <a:t>Estados</a:t>
            </a:r>
            <a:r>
              <a:rPr sz="2000" dirty="0"/>
              <a:t> Unidos</a:t>
            </a:r>
            <a:r>
              <a:rPr sz="2000" baseline="30000" dirty="0"/>
              <a:t>*</a:t>
            </a:r>
            <a:r>
              <a:rPr sz="2000" dirty="0"/>
              <a:t> (USD)</a:t>
            </a:r>
            <a:endParaRPr sz="2000" dirty="0">
              <a:cs typeface="Calibri"/>
            </a:endParaRPr>
          </a:p>
        </p:txBody>
      </p:sp>
      <p:sp>
        <p:nvSpPr>
          <p:cNvPr id="10" name="TextBox 9">
            <a:extLst>
              <a:ext uri="{FF2B5EF4-FFF2-40B4-BE49-F238E27FC236}">
                <a16:creationId xmlns:a16="http://schemas.microsoft.com/office/drawing/2014/main" id="{8A83D00C-10EA-BDD4-8B23-F2598E0AD45B}"/>
              </a:ext>
            </a:extLst>
          </p:cNvPr>
          <p:cNvSpPr txBox="1"/>
          <p:nvPr/>
        </p:nvSpPr>
        <p:spPr>
          <a:xfrm>
            <a:off x="784214" y="6133407"/>
            <a:ext cx="6968574" cy="307777"/>
          </a:xfrm>
          <a:prstGeom prst="rect">
            <a:avLst/>
          </a:prstGeom>
          <a:noFill/>
        </p:spPr>
        <p:txBody>
          <a:bodyPr wrap="none" lIns="91440" tIns="45720" rIns="91440" bIns="45720" anchor="t">
            <a:spAutoFit/>
          </a:bodyPr>
          <a:lstStyle/>
          <a:p>
            <a:pPr>
              <a:defRPr sz="1400"/>
            </a:pPr>
            <a:r>
              <a:t>*Os alunos que começam com o caminho avançado (ignorando o PathwayConnect) pagam uma taxa mais alta.</a:t>
            </a:r>
            <a:endParaRPr lang="en-US" sz="1400">
              <a:cs typeface="Calibri"/>
            </a:endParaRPr>
          </a:p>
        </p:txBody>
      </p:sp>
    </p:spTree>
    <p:extLst>
      <p:ext uri="{BB962C8B-B14F-4D97-AF65-F5344CB8AC3E}">
        <p14:creationId xmlns:p14="http://schemas.microsoft.com/office/powerpoint/2010/main" val="305665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dirty="0" smtClean="0"/>
              <a:t>16</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0" name="Picture 9" descr="A person in a graduation gown  Description automatically generated with medium confidence">
            <a:extLst>
              <a:ext uri="{FF2B5EF4-FFF2-40B4-BE49-F238E27FC236}">
                <a16:creationId xmlns:a16="http://schemas.microsoft.com/office/drawing/2014/main" id="{FFB4513E-47FF-EE84-011D-CB0CD0CCC4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Rectangle 10">
            <a:extLst>
              <a:ext uri="{FF2B5EF4-FFF2-40B4-BE49-F238E27FC236}">
                <a16:creationId xmlns:a16="http://schemas.microsoft.com/office/drawing/2014/main" id="{62146AE7-57A9-D950-371D-4985F55F6D87}"/>
              </a:ext>
            </a:extLst>
          </p:cNvPr>
          <p:cNvSpPr/>
          <p:nvPr/>
        </p:nvSpPr>
        <p:spPr>
          <a:xfrm>
            <a:off x="0" y="0"/>
            <a:ext cx="7192370" cy="6858000"/>
          </a:xfrm>
          <a:prstGeom prst="rect">
            <a:avLst/>
          </a:prstGeom>
          <a:gradFill flip="none" rotWithShape="1">
            <a:gsLst>
              <a:gs pos="53000">
                <a:schemeClr val="accent1">
                  <a:lumMod val="5000"/>
                  <a:lumOff val="95000"/>
                </a:schemeClr>
              </a:gs>
              <a:gs pos="100000">
                <a:schemeClr val="bg1">
                  <a:alpha val="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endParaRPr lang="en-US"/>
          </a:p>
        </p:txBody>
      </p:sp>
      <p:sp>
        <p:nvSpPr>
          <p:cNvPr id="2" name="Text Placeholder 1">
            <a:extLst>
              <a:ext uri="{FF2B5EF4-FFF2-40B4-BE49-F238E27FC236}">
                <a16:creationId xmlns:a16="http://schemas.microsoft.com/office/drawing/2014/main" id="{DDB8F63A-FFC3-6EBE-7F2A-D6FB52736DF1}"/>
              </a:ext>
            </a:extLst>
          </p:cNvPr>
          <p:cNvSpPr txBox="1">
            <a:spLocks/>
          </p:cNvSpPr>
          <p:nvPr/>
        </p:nvSpPr>
        <p:spPr>
          <a:xfrm>
            <a:off x="847660" y="1315711"/>
            <a:ext cx="5390931"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Termine </a:t>
            </a:r>
            <a:r>
              <a:rPr err="1"/>
              <a:t>mais</a:t>
            </a:r>
            <a:r>
              <a:t> </a:t>
            </a:r>
            <a:r>
              <a:rPr err="1"/>
              <a:t>rápido</a:t>
            </a:r>
          </a:p>
        </p:txBody>
      </p:sp>
      <p:sp>
        <p:nvSpPr>
          <p:cNvPr id="3" name="Rectangle 2">
            <a:extLst>
              <a:ext uri="{FF2B5EF4-FFF2-40B4-BE49-F238E27FC236}">
                <a16:creationId xmlns:a16="http://schemas.microsoft.com/office/drawing/2014/main" id="{82C6AD87-5175-74D0-47FC-6B7724DB7447}"/>
              </a:ext>
            </a:extLst>
          </p:cNvPr>
          <p:cNvSpPr/>
          <p:nvPr/>
        </p:nvSpPr>
        <p:spPr>
          <a:xfrm>
            <a:off x="873788" y="2212885"/>
            <a:ext cx="4624804" cy="1190967"/>
          </a:xfrm>
          <a:prstGeom prst="rect">
            <a:avLst/>
          </a:prstGeom>
        </p:spPr>
        <p:txBody>
          <a:bodyPr wrap="square" lIns="91440" tIns="45720" rIns="91440" bIns="45720" anchor="t">
            <a:spAutoFit/>
          </a:bodyPr>
          <a:lstStyle/>
          <a:p>
            <a:pPr>
              <a:lnSpc>
                <a:spcPct val="110000"/>
              </a:lnSpc>
              <a:defRPr sz="2200"/>
            </a:pPr>
            <a:r>
              <a:rPr err="1"/>
              <a:t>Os</a:t>
            </a:r>
            <a:r>
              <a:t> </a:t>
            </a:r>
            <a:r>
              <a:rPr err="1"/>
              <a:t>alunos</a:t>
            </a:r>
            <a:r>
              <a:t> </a:t>
            </a:r>
            <a:r>
              <a:rPr err="1"/>
              <a:t>começam</a:t>
            </a:r>
            <a:r>
              <a:t> </a:t>
            </a:r>
            <a:r>
              <a:rPr err="1"/>
              <a:t>sua</a:t>
            </a:r>
            <a:r>
              <a:t> </a:t>
            </a:r>
            <a:r>
              <a:rPr err="1"/>
              <a:t>primeira</a:t>
            </a:r>
            <a:r>
              <a:t> aula de </a:t>
            </a:r>
            <a:r>
              <a:rPr err="1"/>
              <a:t>certificado</a:t>
            </a:r>
            <a:r>
              <a:t> </a:t>
            </a:r>
            <a:r>
              <a:rPr err="1"/>
              <a:t>apenas</a:t>
            </a:r>
            <a:r>
              <a:t> </a:t>
            </a:r>
            <a:r>
              <a:rPr b="1"/>
              <a:t>14 </a:t>
            </a:r>
            <a:r>
              <a:rPr b="1" err="1"/>
              <a:t>semanas</a:t>
            </a:r>
            <a:r>
              <a:rPr b="1"/>
              <a:t> </a:t>
            </a:r>
            <a:r>
              <a:rPr err="1"/>
              <a:t>após</a:t>
            </a:r>
            <a:r>
              <a:t> </a:t>
            </a:r>
            <a:r>
              <a:rPr err="1"/>
              <a:t>sua</a:t>
            </a:r>
            <a:r>
              <a:t> jornada </a:t>
            </a:r>
            <a:r>
              <a:rPr err="1"/>
              <a:t>educacional</a:t>
            </a:r>
            <a:r>
              <a:t>.</a:t>
            </a:r>
          </a:p>
        </p:txBody>
      </p:sp>
    </p:spTree>
    <p:extLst>
      <p:ext uri="{BB962C8B-B14F-4D97-AF65-F5344CB8AC3E}">
        <p14:creationId xmlns:p14="http://schemas.microsoft.com/office/powerpoint/2010/main" val="95417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dirty="0" smtClean="0"/>
              <a:t>17</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16" name="Rectangle 15">
            <a:extLst>
              <a:ext uri="{FF2B5EF4-FFF2-40B4-BE49-F238E27FC236}">
                <a16:creationId xmlns:a16="http://schemas.microsoft.com/office/drawing/2014/main" id="{62544AEE-9FDC-214D-8A9F-476D5C29C398}"/>
              </a:ext>
            </a:extLst>
          </p:cNvPr>
          <p:cNvSpPr/>
          <p:nvPr/>
        </p:nvSpPr>
        <p:spPr>
          <a:xfrm>
            <a:off x="0" y="372790"/>
            <a:ext cx="5217766" cy="94705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3" name="Text Placeholder 1">
            <a:extLst>
              <a:ext uri="{FF2B5EF4-FFF2-40B4-BE49-F238E27FC236}">
                <a16:creationId xmlns:a16="http://schemas.microsoft.com/office/drawing/2014/main" id="{E1815725-512E-9048-88FA-51D8CFFF78C2}"/>
              </a:ext>
            </a:extLst>
          </p:cNvPr>
          <p:cNvSpPr txBox="1">
            <a:spLocks/>
          </p:cNvSpPr>
          <p:nvPr/>
        </p:nvSpPr>
        <p:spPr>
          <a:xfrm>
            <a:off x="140853" y="632750"/>
            <a:ext cx="7342776"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800" b="1" spc="90">
                <a:solidFill>
                  <a:schemeClr val="tx2">
                    <a:lumMod val="90000"/>
                    <a:lumOff val="10000"/>
                  </a:schemeClr>
                </a:solidFill>
              </a:defRPr>
            </a:pPr>
            <a:r>
              <a:t>CRÉDITOS DE TRANSFERÊNCIA</a:t>
            </a:r>
            <a:endParaRPr lang="en-US" sz="2400" b="1" spc="90">
              <a:solidFill>
                <a:schemeClr val="tx2">
                  <a:lumMod val="90000"/>
                  <a:lumOff val="10000"/>
                </a:schemeClr>
              </a:solidFill>
            </a:endParaRPr>
          </a:p>
        </p:txBody>
      </p:sp>
      <p:sp>
        <p:nvSpPr>
          <p:cNvPr id="8" name="Rectangle 7">
            <a:extLst>
              <a:ext uri="{FF2B5EF4-FFF2-40B4-BE49-F238E27FC236}">
                <a16:creationId xmlns:a16="http://schemas.microsoft.com/office/drawing/2014/main" id="{C29326BC-4197-FE42-B254-B8E44181828A}"/>
              </a:ext>
            </a:extLst>
          </p:cNvPr>
          <p:cNvSpPr/>
          <p:nvPr/>
        </p:nvSpPr>
        <p:spPr>
          <a:xfrm>
            <a:off x="633913" y="2777079"/>
            <a:ext cx="5462088" cy="2062103"/>
          </a:xfrm>
          <a:prstGeom prst="rect">
            <a:avLst/>
          </a:prstGeom>
        </p:spPr>
        <p:txBody>
          <a:bodyPr wrap="square" lIns="91440" tIns="45720" rIns="91440" bIns="45720" anchor="t">
            <a:spAutoFit/>
          </a:bodyPr>
          <a:lstStyle/>
          <a:p>
            <a:pPr>
              <a:defRPr sz="3200">
                <a:latin typeface="Calibri"/>
                <a:ea typeface="Calibri"/>
                <a:cs typeface="Calibri"/>
              </a:defRPr>
            </a:pPr>
            <a:r>
              <a:t>A BYU-Pathway Worldwide e </a:t>
            </a:r>
            <a:r>
              <a:rPr err="1"/>
              <a:t>suas</a:t>
            </a:r>
            <a:r>
              <a:t> </a:t>
            </a:r>
            <a:r>
              <a:rPr err="1"/>
              <a:t>escolas</a:t>
            </a:r>
            <a:r>
              <a:t> </a:t>
            </a:r>
            <a:r>
              <a:rPr err="1"/>
              <a:t>parceiras</a:t>
            </a:r>
            <a:r>
              <a:t> </a:t>
            </a:r>
            <a:r>
              <a:rPr err="1"/>
              <a:t>têm</a:t>
            </a:r>
            <a:r>
              <a:t> </a:t>
            </a:r>
            <a:r>
              <a:rPr err="1"/>
              <a:t>uma</a:t>
            </a:r>
            <a:r>
              <a:t> </a:t>
            </a:r>
            <a:r>
              <a:rPr b="1" err="1">
                <a:solidFill>
                  <a:srgbClr val="3A929D"/>
                </a:solidFill>
              </a:rPr>
              <a:t>generosa</a:t>
            </a:r>
            <a:r>
              <a:rPr b="1">
                <a:solidFill>
                  <a:srgbClr val="3A929D"/>
                </a:solidFill>
              </a:rPr>
              <a:t> </a:t>
            </a:r>
            <a:r>
              <a:rPr b="1" err="1">
                <a:solidFill>
                  <a:srgbClr val="3A929D"/>
                </a:solidFill>
              </a:rPr>
              <a:t>política</a:t>
            </a:r>
            <a:r>
              <a:rPr b="1">
                <a:solidFill>
                  <a:srgbClr val="3A929D"/>
                </a:solidFill>
              </a:rPr>
              <a:t> de </a:t>
            </a:r>
            <a:r>
              <a:rPr b="1" err="1">
                <a:solidFill>
                  <a:srgbClr val="3A929D"/>
                </a:solidFill>
              </a:rPr>
              <a:t>transferência</a:t>
            </a:r>
            <a:r>
              <a:rPr b="1">
                <a:solidFill>
                  <a:srgbClr val="3A929D"/>
                </a:solidFill>
              </a:rPr>
              <a:t> de</a:t>
            </a:r>
            <a:r>
              <a:rPr lang="en-US">
                <a:solidFill>
                  <a:srgbClr val="000000"/>
                </a:solidFill>
              </a:rPr>
              <a:t> </a:t>
            </a:r>
            <a:r>
              <a:rPr err="1"/>
              <a:t>crédito</a:t>
            </a:r>
            <a:r>
              <a:t>.</a:t>
            </a:r>
          </a:p>
        </p:txBody>
      </p:sp>
      <p:pic>
        <p:nvPicPr>
          <p:cNvPr id="7" name="Picture 6" descr="A picture containing text, person, computer, computer  Description automatically generated">
            <a:extLst>
              <a:ext uri="{FF2B5EF4-FFF2-40B4-BE49-F238E27FC236}">
                <a16:creationId xmlns:a16="http://schemas.microsoft.com/office/drawing/2014/main" id="{7E254706-AC2D-5842-8B5B-C55CDE74DF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5353" y="0"/>
            <a:ext cx="5216647" cy="6858000"/>
          </a:xfrm>
          <a:prstGeom prst="rect">
            <a:avLst/>
          </a:prstGeom>
        </p:spPr>
      </p:pic>
      <p:sp>
        <p:nvSpPr>
          <p:cNvPr id="2" name="TextBox 1">
            <a:extLst>
              <a:ext uri="{FF2B5EF4-FFF2-40B4-BE49-F238E27FC236}">
                <a16:creationId xmlns:a16="http://schemas.microsoft.com/office/drawing/2014/main" id="{29993704-1A86-D204-ACD4-3DE44E38FA59}"/>
              </a:ext>
            </a:extLst>
          </p:cNvPr>
          <p:cNvSpPr txBox="1"/>
          <p:nvPr/>
        </p:nvSpPr>
        <p:spPr>
          <a:xfrm>
            <a:off x="542543" y="6092303"/>
            <a:ext cx="5553997" cy="523220"/>
          </a:xfrm>
          <a:prstGeom prst="rect">
            <a:avLst/>
          </a:prstGeom>
          <a:noFill/>
        </p:spPr>
        <p:txBody>
          <a:bodyPr wrap="square">
            <a:spAutoFit/>
          </a:bodyPr>
          <a:lstStyle/>
          <a:p>
            <a:pPr marL="120650" indent="-109538">
              <a:defRPr sz="1400"/>
            </a:pPr>
            <a:r>
              <a:t>*</a:t>
            </a:r>
            <a:r>
              <a:rPr err="1"/>
              <a:t>Os</a:t>
            </a:r>
            <a:r>
              <a:t> </a:t>
            </a:r>
            <a:r>
              <a:rPr err="1"/>
              <a:t>créditos</a:t>
            </a:r>
            <a:r>
              <a:t> de </a:t>
            </a:r>
            <a:r>
              <a:rPr err="1"/>
              <a:t>transferência</a:t>
            </a:r>
            <a:r>
              <a:t> </a:t>
            </a:r>
            <a:r>
              <a:rPr err="1"/>
              <a:t>variam</a:t>
            </a:r>
            <a:r>
              <a:t> de </a:t>
            </a:r>
            <a:r>
              <a:rPr err="1"/>
              <a:t>acordo</a:t>
            </a:r>
            <a:r>
              <a:t> com o local </a:t>
            </a:r>
            <a:r>
              <a:rPr err="1"/>
              <a:t>ou</a:t>
            </a:r>
            <a:r>
              <a:t> </a:t>
            </a:r>
            <a:r>
              <a:rPr err="1"/>
              <a:t>universidade</a:t>
            </a:r>
            <a:r>
              <a:t> </a:t>
            </a:r>
            <a:r>
              <a:rPr err="1"/>
              <a:t>onde</a:t>
            </a:r>
            <a:r>
              <a:t> </a:t>
            </a:r>
            <a:r>
              <a:rPr err="1"/>
              <a:t>os</a:t>
            </a:r>
            <a:r>
              <a:t> </a:t>
            </a:r>
            <a:r>
              <a:rPr err="1"/>
              <a:t>cursos</a:t>
            </a:r>
            <a:r>
              <a:t> </a:t>
            </a:r>
            <a:r>
              <a:rPr err="1"/>
              <a:t>foram</a:t>
            </a:r>
            <a:r>
              <a:t> </a:t>
            </a:r>
            <a:r>
              <a:rPr err="1"/>
              <a:t>realizados</a:t>
            </a:r>
            <a:r>
              <a:t>.</a:t>
            </a:r>
          </a:p>
        </p:txBody>
      </p:sp>
    </p:spTree>
    <p:extLst>
      <p:ext uri="{BB962C8B-B14F-4D97-AF65-F5344CB8AC3E}">
        <p14:creationId xmlns:p14="http://schemas.microsoft.com/office/powerpoint/2010/main" val="299988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348136" y="4509980"/>
            <a:ext cx="6207125" cy="962488"/>
          </a:xfrm>
        </p:spPr>
        <p:txBody>
          <a:bodyPr vert="horz" lIns="91440" tIns="45720" rIns="91440" bIns="45720" anchor="t">
            <a:normAutofit/>
          </a:bodyPr>
          <a:lstStyle/>
          <a:p>
            <a:pPr marL="4445">
              <a:defRPr sz="2000">
                <a:ea typeface="+mj-lt"/>
                <a:cs typeface="+mj-lt"/>
              </a:defRPr>
            </a:pPr>
            <a:r>
              <a:t>EDNA MAFAVUKE</a:t>
            </a:r>
          </a:p>
          <a:p>
            <a:pPr marL="4445">
              <a:defRPr i="1">
                <a:ea typeface="+mj-lt"/>
                <a:cs typeface="+mj-lt"/>
              </a:defRPr>
            </a:pPr>
            <a:r>
              <a:rPr err="1"/>
              <a:t>Zimbábue</a:t>
            </a:r>
            <a:endParaRPr lang="en-US" i="1" err="1">
              <a:cs typeface="Calibri Light"/>
            </a:endParaRPr>
          </a:p>
          <a:p>
            <a:pPr marL="4445"/>
            <a:endParaRPr lang="en-US" i="1">
              <a:cs typeface="Calibri Light"/>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18</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7" name="Picture 9">
            <a:extLst>
              <a:ext uri="{FF2B5EF4-FFF2-40B4-BE49-F238E27FC236}">
                <a16:creationId xmlns:a16="http://schemas.microsoft.com/office/drawing/2014/main" id="{4B46ABE5-E8A2-CE87-5FB0-C52538C969DA}"/>
              </a:ext>
            </a:extLst>
          </p:cNvPr>
          <p:cNvPicPr>
            <a:picLocks noChangeAspect="1"/>
          </p:cNvPicPr>
          <p:nvPr/>
        </p:nvPicPr>
        <p:blipFill rotWithShape="1">
          <a:blip r:embed="rId4"/>
          <a:srcRect t="1327" r="-238" b="233"/>
          <a:stretch/>
        </p:blipFill>
        <p:spPr>
          <a:xfrm>
            <a:off x="1167004" y="1666456"/>
            <a:ext cx="3538708" cy="3533729"/>
          </a:xfrm>
          <a:prstGeom prst="rect">
            <a:avLst/>
          </a:prstGeom>
        </p:spPr>
      </p:pic>
      <p:sp>
        <p:nvSpPr>
          <p:cNvPr id="6" name="TextBox 5">
            <a:extLst>
              <a:ext uri="{FF2B5EF4-FFF2-40B4-BE49-F238E27FC236}">
                <a16:creationId xmlns:a16="http://schemas.microsoft.com/office/drawing/2014/main" id="{EA940E73-F53B-77D0-FDC1-FA51DF406EF8}"/>
              </a:ext>
            </a:extLst>
          </p:cNvPr>
          <p:cNvSpPr txBox="1"/>
          <p:nvPr/>
        </p:nvSpPr>
        <p:spPr>
          <a:xfrm>
            <a:off x="5173233" y="2048400"/>
            <a:ext cx="5929365"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defRPr>
            </a:pPr>
            <a:r>
              <a:rPr>
                <a:ea typeface="+mn-lt"/>
                <a:cs typeface="+mn-lt"/>
              </a:rPr>
              <a:t>"</a:t>
            </a:r>
            <a:r>
              <a:rPr>
                <a:latin typeface="Calibri Light"/>
                <a:ea typeface="Roboto Slab Thin"/>
                <a:cs typeface="Roboto Slab Thin"/>
              </a:rPr>
              <a:t>Por causa da </a:t>
            </a:r>
            <a:r>
              <a:rPr err="1">
                <a:latin typeface="Calibri Light"/>
                <a:ea typeface="Roboto Slab Thin"/>
                <a:cs typeface="Roboto Slab Thin"/>
              </a:rPr>
              <a:t>bolsa</a:t>
            </a:r>
            <a:r>
              <a:rPr>
                <a:latin typeface="Calibri Light"/>
                <a:ea typeface="Roboto Slab Thin"/>
                <a:cs typeface="Roboto Slab Thin"/>
              </a:rPr>
              <a:t> Heber J. Grant, a BYU-Pathway </a:t>
            </a:r>
            <a:r>
              <a:rPr err="1">
                <a:latin typeface="Calibri Light"/>
                <a:ea typeface="Roboto Slab Thin"/>
                <a:cs typeface="Roboto Slab Thin"/>
              </a:rPr>
              <a:t>entrou</a:t>
            </a:r>
            <a:r>
              <a:rPr>
                <a:latin typeface="Calibri Light"/>
                <a:ea typeface="Roboto Slab Thin"/>
                <a:cs typeface="Roboto Slab Thin"/>
              </a:rPr>
              <a:t> </a:t>
            </a:r>
            <a:r>
              <a:rPr err="1">
                <a:latin typeface="Calibri Light"/>
                <a:ea typeface="Roboto Slab Thin"/>
                <a:cs typeface="Roboto Slab Thin"/>
              </a:rPr>
              <a:t>em</a:t>
            </a:r>
            <a:r>
              <a:rPr>
                <a:latin typeface="Calibri Light"/>
                <a:ea typeface="Roboto Slab Thin"/>
                <a:cs typeface="Roboto Slab Thin"/>
              </a:rPr>
              <a:t> </a:t>
            </a:r>
            <a:r>
              <a:rPr err="1">
                <a:latin typeface="Calibri Light"/>
                <a:ea typeface="Roboto Slab Thin"/>
                <a:cs typeface="Roboto Slab Thin"/>
              </a:rPr>
              <a:t>minha</a:t>
            </a:r>
            <a:r>
              <a:rPr>
                <a:latin typeface="Calibri Light"/>
                <a:ea typeface="Roboto Slab Thin"/>
                <a:cs typeface="Roboto Slab Thin"/>
              </a:rPr>
              <a:t> </a:t>
            </a:r>
            <a:r>
              <a:rPr err="1">
                <a:latin typeface="Calibri Light"/>
                <a:ea typeface="Roboto Slab Thin"/>
                <a:cs typeface="Roboto Slab Thin"/>
              </a:rPr>
              <a:t>vida</a:t>
            </a:r>
            <a:r>
              <a:rPr>
                <a:latin typeface="Calibri Light"/>
                <a:ea typeface="Roboto Slab Thin"/>
                <a:cs typeface="Roboto Slab Thin"/>
              </a:rPr>
              <a:t> </a:t>
            </a:r>
            <a:r>
              <a:rPr err="1">
                <a:latin typeface="Calibri Light"/>
                <a:ea typeface="Roboto Slab Thin"/>
                <a:cs typeface="Roboto Slab Thin"/>
              </a:rPr>
              <a:t>como</a:t>
            </a:r>
            <a:r>
              <a:rPr>
                <a:latin typeface="Calibri Light"/>
                <a:ea typeface="Roboto Slab Thin"/>
                <a:cs typeface="Roboto Slab Thin"/>
              </a:rPr>
              <a:t> um </a:t>
            </a:r>
            <a:r>
              <a:rPr err="1">
                <a:latin typeface="Calibri Light"/>
                <a:ea typeface="Roboto Slab Thin"/>
                <a:cs typeface="Roboto Slab Thin"/>
              </a:rPr>
              <a:t>sonho</a:t>
            </a:r>
            <a:r>
              <a:rPr>
                <a:latin typeface="Calibri Light"/>
                <a:ea typeface="Roboto Slab Thin"/>
                <a:cs typeface="Roboto Slab Thin"/>
              </a:rPr>
              <a:t> tornado </a:t>
            </a:r>
            <a:r>
              <a:rPr err="1">
                <a:latin typeface="Calibri Light"/>
                <a:ea typeface="Roboto Slab Thin"/>
                <a:cs typeface="Roboto Slab Thin"/>
              </a:rPr>
              <a:t>realidade</a:t>
            </a:r>
            <a:r>
              <a:rPr>
                <a:latin typeface="Calibri Light"/>
                <a:ea typeface="Roboto Slab Thin"/>
                <a:cs typeface="Roboto Slab Thin"/>
              </a:rPr>
              <a:t>, e </a:t>
            </a:r>
            <a:r>
              <a:rPr err="1">
                <a:latin typeface="Calibri Light"/>
                <a:ea typeface="Roboto Slab Thin"/>
                <a:cs typeface="Roboto Slab Thin"/>
              </a:rPr>
              <a:t>estou</a:t>
            </a:r>
            <a:r>
              <a:rPr>
                <a:latin typeface="Calibri Light"/>
                <a:ea typeface="Roboto Slab Thin"/>
                <a:cs typeface="Roboto Slab Thin"/>
              </a:rPr>
              <a:t> </a:t>
            </a:r>
            <a:r>
              <a:rPr err="1">
                <a:latin typeface="Calibri Light"/>
                <a:ea typeface="Roboto Slab Thin"/>
                <a:cs typeface="Roboto Slab Thin"/>
              </a:rPr>
              <a:t>sendo</a:t>
            </a:r>
            <a:r>
              <a:rPr>
                <a:latin typeface="Calibri Light"/>
                <a:ea typeface="Roboto Slab Thin"/>
                <a:cs typeface="Roboto Slab Thin"/>
              </a:rPr>
              <a:t> </a:t>
            </a:r>
            <a:r>
              <a:rPr err="1">
                <a:latin typeface="Calibri Light"/>
                <a:ea typeface="Roboto Slab Thin"/>
                <a:cs typeface="Roboto Slab Thin"/>
              </a:rPr>
              <a:t>refinada</a:t>
            </a:r>
            <a:r>
              <a:rPr>
                <a:latin typeface="Calibri Light"/>
                <a:ea typeface="Roboto Slab Thin"/>
                <a:cs typeface="Roboto Slab Thin"/>
              </a:rPr>
              <a:t> para ser a </a:t>
            </a:r>
            <a:r>
              <a:rPr err="1">
                <a:latin typeface="Calibri Light"/>
                <a:ea typeface="Roboto Slab Thin"/>
                <a:cs typeface="Roboto Slab Thin"/>
              </a:rPr>
              <a:t>pessoa</a:t>
            </a:r>
            <a:r>
              <a:rPr>
                <a:latin typeface="Calibri Light"/>
                <a:ea typeface="Roboto Slab Thin"/>
                <a:cs typeface="Roboto Slab Thin"/>
              </a:rPr>
              <a:t> que o Senhor </a:t>
            </a:r>
            <a:r>
              <a:rPr err="1">
                <a:latin typeface="Calibri Light"/>
                <a:ea typeface="Roboto Slab Thin"/>
                <a:cs typeface="Roboto Slab Thin"/>
              </a:rPr>
              <a:t>quer</a:t>
            </a:r>
            <a:r>
              <a:rPr>
                <a:latin typeface="Calibri Light"/>
                <a:ea typeface="Roboto Slab Thin"/>
                <a:cs typeface="Roboto Slab Thin"/>
              </a:rPr>
              <a:t> que </a:t>
            </a:r>
            <a:r>
              <a:rPr err="1">
                <a:latin typeface="Calibri Light"/>
                <a:ea typeface="Roboto Slab Thin"/>
                <a:cs typeface="Roboto Slab Thin"/>
              </a:rPr>
              <a:t>eu</a:t>
            </a:r>
            <a:r>
              <a:rPr>
                <a:latin typeface="Calibri Light"/>
                <a:ea typeface="Roboto Slab Thin"/>
                <a:cs typeface="Roboto Slab Thin"/>
              </a:rPr>
              <a:t> </a:t>
            </a:r>
            <a:r>
              <a:rPr err="1">
                <a:latin typeface="Calibri Light"/>
                <a:ea typeface="Roboto Slab Thin"/>
                <a:cs typeface="Roboto Slab Thin"/>
              </a:rPr>
              <a:t>seja</a:t>
            </a:r>
            <a:r>
              <a:rPr>
                <a:latin typeface="Calibri Light"/>
                <a:ea typeface="Roboto Slab Thin"/>
                <a:cs typeface="Roboto Slab Thin"/>
              </a:rPr>
              <a:t>."</a:t>
            </a:r>
            <a:endParaRPr lang="en-US" sz="2800">
              <a:solidFill>
                <a:srgbClr val="58595B"/>
              </a:solidFill>
              <a:latin typeface="Roboto Slab Thin"/>
              <a:ea typeface="Roboto Slab Thin"/>
              <a:cs typeface="Roboto Slab Thin"/>
            </a:endParaRPr>
          </a:p>
        </p:txBody>
      </p:sp>
    </p:spTree>
    <p:extLst>
      <p:ext uri="{BB962C8B-B14F-4D97-AF65-F5344CB8AC3E}">
        <p14:creationId xmlns:p14="http://schemas.microsoft.com/office/powerpoint/2010/main" val="3973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A3A9F34-98D4-9547-B942-3279C8707609}"/>
              </a:ext>
            </a:extLst>
          </p:cNvPr>
          <p:cNvSpPr/>
          <p:nvPr/>
        </p:nvSpPr>
        <p:spPr>
          <a:xfrm>
            <a:off x="4985657" y="0"/>
            <a:ext cx="2220686" cy="1854926"/>
          </a:xfrm>
          <a:prstGeom prst="rect">
            <a:avLst/>
          </a:prstGeom>
          <a:solidFill>
            <a:srgbClr val="F9C6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1</a:t>
            </a:fld>
            <a:endParaRPr lang="en-US"/>
          </a:p>
        </p:txBody>
      </p:sp>
      <p:sp>
        <p:nvSpPr>
          <p:cNvPr id="20" name="Content Placeholder 2">
            <a:extLst>
              <a:ext uri="{FF2B5EF4-FFF2-40B4-BE49-F238E27FC236}">
                <a16:creationId xmlns:a16="http://schemas.microsoft.com/office/drawing/2014/main" id="{16521770-80B6-B447-80F3-E433B45DFE28}"/>
              </a:ext>
            </a:extLst>
          </p:cNvPr>
          <p:cNvSpPr txBox="1">
            <a:spLocks/>
          </p:cNvSpPr>
          <p:nvPr/>
        </p:nvSpPr>
        <p:spPr>
          <a:xfrm>
            <a:off x="1514338" y="2212337"/>
            <a:ext cx="9028113" cy="138594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20000"/>
              </a:lnSpc>
              <a:buNone/>
              <a:defRPr sz="2400"/>
            </a:pPr>
            <a:r>
              <a:t>Em associação com a BYU-Idaho e a Ensign College, a BYU-Pathway Worldwide oferece acesso a </a:t>
            </a:r>
            <a:r>
              <a:rPr b="1">
                <a:solidFill>
                  <a:srgbClr val="3A929D"/>
                </a:solidFill>
                <a:latin typeface="Calibri"/>
                <a:cs typeface="Calibri"/>
              </a:rPr>
              <a:t>diplomas de base espiritual</a:t>
            </a:r>
            <a:r>
              <a:t>, </a:t>
            </a:r>
            <a:br>
              <a:rPr lang="en-US" sz="2400"/>
            </a:br>
            <a:r>
              <a:t>totalmente </a:t>
            </a:r>
            <a:r>
              <a:rPr b="1">
                <a:solidFill>
                  <a:srgbClr val="3A929D"/>
                </a:solidFill>
              </a:rPr>
              <a:t>on-line</a:t>
            </a:r>
            <a:r>
              <a:t> e a um </a:t>
            </a:r>
            <a:r>
              <a:rPr b="1">
                <a:solidFill>
                  <a:srgbClr val="3A929D"/>
                </a:solidFill>
              </a:rPr>
              <a:t>custo significativamente reduzido</a:t>
            </a:r>
            <a:r>
              <a:t>.</a:t>
            </a:r>
          </a:p>
        </p:txBody>
      </p:sp>
      <p:pic>
        <p:nvPicPr>
          <p:cNvPr id="21" name="Graphic 20">
            <a:extLst>
              <a:ext uri="{FF2B5EF4-FFF2-40B4-BE49-F238E27FC236}">
                <a16:creationId xmlns:a16="http://schemas.microsoft.com/office/drawing/2014/main" id="{1135A166-E620-744D-8B95-14B1A9163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54372" y="3641819"/>
            <a:ext cx="2057400" cy="2057400"/>
          </a:xfrm>
          <a:prstGeom prst="rect">
            <a:avLst/>
          </a:prstGeom>
        </p:spPr>
      </p:pic>
      <p:pic>
        <p:nvPicPr>
          <p:cNvPr id="22" name="Graphic 21">
            <a:extLst>
              <a:ext uri="{FF2B5EF4-FFF2-40B4-BE49-F238E27FC236}">
                <a16:creationId xmlns:a16="http://schemas.microsoft.com/office/drawing/2014/main" id="{E1F72854-B4F8-D243-A1D4-EF3F57A27E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86116" y="3867596"/>
            <a:ext cx="1524000" cy="1524000"/>
          </a:xfrm>
          <a:prstGeom prst="rect">
            <a:avLst/>
          </a:prstGeom>
        </p:spPr>
      </p:pic>
      <p:pic>
        <p:nvPicPr>
          <p:cNvPr id="25" name="Graphic 24">
            <a:extLst>
              <a:ext uri="{FF2B5EF4-FFF2-40B4-BE49-F238E27FC236}">
                <a16:creationId xmlns:a16="http://schemas.microsoft.com/office/drawing/2014/main" id="{8FD51A72-311F-3245-BFC1-5F5CAA82AE1A}"/>
              </a:ext>
            </a:extLst>
          </p:cNvPr>
          <p:cNvPicPr>
            <a:picLocks noChangeAspect="1"/>
          </p:cNvPicPr>
          <p:nvPr/>
        </p:nvPicPr>
        <p:blipFill>
          <a:blip r:embed="rId8"/>
          <a:srcRect/>
          <a:stretch/>
        </p:blipFill>
        <p:spPr>
          <a:xfrm>
            <a:off x="2243328" y="3822368"/>
            <a:ext cx="1524000" cy="1524000"/>
          </a:xfrm>
          <a:prstGeom prst="rect">
            <a:avLst/>
          </a:prstGeom>
        </p:spPr>
      </p:pic>
      <p:sp>
        <p:nvSpPr>
          <p:cNvPr id="27" name="TextBox 26">
            <a:extLst>
              <a:ext uri="{FF2B5EF4-FFF2-40B4-BE49-F238E27FC236}">
                <a16:creationId xmlns:a16="http://schemas.microsoft.com/office/drawing/2014/main" id="{061D94E2-836E-EE4F-AC2E-903DE5C55B97}"/>
              </a:ext>
            </a:extLst>
          </p:cNvPr>
          <p:cNvSpPr txBox="1"/>
          <p:nvPr/>
        </p:nvSpPr>
        <p:spPr>
          <a:xfrm>
            <a:off x="7979282" y="5367003"/>
            <a:ext cx="2337668" cy="584775"/>
          </a:xfrm>
          <a:prstGeom prst="rect">
            <a:avLst/>
          </a:prstGeom>
          <a:noFill/>
        </p:spPr>
        <p:txBody>
          <a:bodyPr wrap="square">
            <a:spAutoFit/>
          </a:bodyPr>
          <a:lstStyle/>
          <a:p>
            <a:pPr algn="ctr">
              <a:defRPr sz="3200" b="1">
                <a:solidFill>
                  <a:schemeClr val="accent6">
                    <a:lumMod val="75000"/>
                    <a:lumOff val="25000"/>
                  </a:schemeClr>
                </a:solidFill>
              </a:defRPr>
            </a:pPr>
            <a:r>
              <a:t>Baixo Custo</a:t>
            </a:r>
          </a:p>
        </p:txBody>
      </p:sp>
      <p:sp>
        <p:nvSpPr>
          <p:cNvPr id="28" name="TextBox 27">
            <a:extLst>
              <a:ext uri="{FF2B5EF4-FFF2-40B4-BE49-F238E27FC236}">
                <a16:creationId xmlns:a16="http://schemas.microsoft.com/office/drawing/2014/main" id="{2DF252B8-74CF-F44D-9C66-D414C0B370E9}"/>
              </a:ext>
            </a:extLst>
          </p:cNvPr>
          <p:cNvSpPr txBox="1"/>
          <p:nvPr/>
        </p:nvSpPr>
        <p:spPr>
          <a:xfrm>
            <a:off x="5222649" y="5374523"/>
            <a:ext cx="1738489" cy="584775"/>
          </a:xfrm>
          <a:prstGeom prst="rect">
            <a:avLst/>
          </a:prstGeom>
          <a:noFill/>
        </p:spPr>
        <p:txBody>
          <a:bodyPr wrap="square" lIns="91440" tIns="45720" rIns="91440" bIns="45720" anchor="t">
            <a:spAutoFit/>
          </a:bodyPr>
          <a:lstStyle/>
          <a:p>
            <a:pPr algn="ctr">
              <a:defRPr sz="3200" b="1">
                <a:solidFill>
                  <a:schemeClr val="accent6">
                    <a:lumMod val="75000"/>
                    <a:lumOff val="25000"/>
                  </a:schemeClr>
                </a:solidFill>
              </a:defRPr>
            </a:pPr>
            <a:r>
              <a:rPr lang="en-US" dirty="0"/>
              <a:t>On-line</a:t>
            </a:r>
            <a:endParaRPr lang="en-US" dirty="0">
              <a:cs typeface="Calibri"/>
            </a:endParaRPr>
          </a:p>
        </p:txBody>
      </p:sp>
      <p:sp>
        <p:nvSpPr>
          <p:cNvPr id="29" name="TextBox 28">
            <a:extLst>
              <a:ext uri="{FF2B5EF4-FFF2-40B4-BE49-F238E27FC236}">
                <a16:creationId xmlns:a16="http://schemas.microsoft.com/office/drawing/2014/main" id="{CED74288-F993-2A4C-A717-1C6A7F535098}"/>
              </a:ext>
            </a:extLst>
          </p:cNvPr>
          <p:cNvSpPr txBox="1"/>
          <p:nvPr/>
        </p:nvSpPr>
        <p:spPr>
          <a:xfrm>
            <a:off x="2084749" y="5368120"/>
            <a:ext cx="1847346" cy="584775"/>
          </a:xfrm>
          <a:prstGeom prst="rect">
            <a:avLst/>
          </a:prstGeom>
          <a:noFill/>
        </p:spPr>
        <p:txBody>
          <a:bodyPr wrap="square">
            <a:spAutoFit/>
          </a:bodyPr>
          <a:lstStyle/>
          <a:p>
            <a:pPr algn="ctr">
              <a:defRPr sz="3200" b="1">
                <a:solidFill>
                  <a:schemeClr val="accent6">
                    <a:lumMod val="75000"/>
                    <a:lumOff val="25000"/>
                  </a:schemeClr>
                </a:solidFill>
              </a:defRPr>
            </a:pPr>
            <a:r>
              <a:t>Espiritual</a:t>
            </a:r>
          </a:p>
        </p:txBody>
      </p:sp>
      <p:pic>
        <p:nvPicPr>
          <p:cNvPr id="3" name="Picture 2" descr="Text  Description automatically generated">
            <a:extLst>
              <a:ext uri="{FF2B5EF4-FFF2-40B4-BE49-F238E27FC236}">
                <a16:creationId xmlns:a16="http://schemas.microsoft.com/office/drawing/2014/main" id="{071D2044-38DA-5DE0-1402-D82CA813D637}"/>
              </a:ext>
            </a:extLst>
          </p:cNvPr>
          <p:cNvPicPr>
            <a:picLocks noChangeAspect="1"/>
          </p:cNvPicPr>
          <p:nvPr/>
        </p:nvPicPr>
        <p:blipFill>
          <a:blip r:embed="rId9"/>
          <a:stretch>
            <a:fillRect/>
          </a:stretch>
        </p:blipFill>
        <p:spPr>
          <a:xfrm>
            <a:off x="5222649" y="379389"/>
            <a:ext cx="1743270" cy="1096147"/>
          </a:xfrm>
          <a:prstGeom prst="rect">
            <a:avLst/>
          </a:prstGeom>
        </p:spPr>
      </p:pic>
    </p:spTree>
    <p:extLst>
      <p:ext uri="{BB962C8B-B14F-4D97-AF65-F5344CB8AC3E}">
        <p14:creationId xmlns:p14="http://schemas.microsoft.com/office/powerpoint/2010/main" val="144466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434945" y="4995583"/>
            <a:ext cx="6207125" cy="962488"/>
          </a:xfrm>
        </p:spPr>
        <p:txBody>
          <a:bodyPr vert="horz" lIns="91440" tIns="45720" rIns="91440" bIns="45720" anchor="t">
            <a:normAutofit/>
          </a:bodyPr>
          <a:lstStyle/>
          <a:p>
            <a:pPr marL="4445">
              <a:defRPr sz="2000">
                <a:solidFill>
                  <a:srgbClr val="656365"/>
                </a:solidFill>
                <a:ea typeface="+mj-lt"/>
                <a:cs typeface="+mj-lt"/>
              </a:defRPr>
            </a:pPr>
            <a:r>
              <a:t>STEVEN MORRISSEY</a:t>
            </a:r>
          </a:p>
          <a:p>
            <a:pPr marL="4445">
              <a:defRPr i="1">
                <a:solidFill>
                  <a:srgbClr val="656365"/>
                </a:solidFill>
                <a:ea typeface="+mj-lt"/>
                <a:cs typeface="+mj-lt"/>
              </a:defRPr>
            </a:pPr>
            <a:r>
              <a:t>EUA</a:t>
            </a:r>
            <a:endParaRPr lang="en-US" i="1">
              <a:cs typeface="Calibri Light"/>
            </a:endParaRPr>
          </a:p>
          <a:p>
            <a:pPr marL="4445"/>
            <a:endParaRPr lang="en-US" i="1">
              <a:cs typeface="Calibri Light"/>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19</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7" name="TextBox 6">
            <a:extLst>
              <a:ext uri="{FF2B5EF4-FFF2-40B4-BE49-F238E27FC236}">
                <a16:creationId xmlns:a16="http://schemas.microsoft.com/office/drawing/2014/main" id="{84DCE381-A32C-6D8A-E72B-2D79BB72329D}"/>
              </a:ext>
            </a:extLst>
          </p:cNvPr>
          <p:cNvSpPr txBox="1"/>
          <p:nvPr/>
        </p:nvSpPr>
        <p:spPr>
          <a:xfrm>
            <a:off x="5288977" y="2071564"/>
            <a:ext cx="6493106"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Essa </a:t>
            </a:r>
            <a:r>
              <a:rPr err="1"/>
              <a:t>bolsa</a:t>
            </a:r>
            <a:r>
              <a:t> </a:t>
            </a:r>
            <a:r>
              <a:rPr err="1"/>
              <a:t>pode</a:t>
            </a:r>
            <a:r>
              <a:t> </a:t>
            </a:r>
            <a:r>
              <a:rPr err="1"/>
              <a:t>parecer</a:t>
            </a:r>
            <a:r>
              <a:t> que </a:t>
            </a:r>
            <a:r>
              <a:rPr err="1"/>
              <a:t>só</a:t>
            </a:r>
            <a:r>
              <a:t> me beneficia, mas beneficia </a:t>
            </a:r>
            <a:r>
              <a:rPr err="1"/>
              <a:t>toda</a:t>
            </a:r>
            <a:r>
              <a:t> a </a:t>
            </a:r>
            <a:r>
              <a:rPr err="1"/>
              <a:t>minha</a:t>
            </a:r>
            <a:r>
              <a:t> </a:t>
            </a:r>
            <a:r>
              <a:rPr err="1"/>
              <a:t>família</a:t>
            </a:r>
            <a:r>
              <a:t>. </a:t>
            </a:r>
            <a:r>
              <a:rPr err="1"/>
              <a:t>Receber</a:t>
            </a:r>
            <a:r>
              <a:t> </a:t>
            </a:r>
            <a:r>
              <a:rPr err="1"/>
              <a:t>minha</a:t>
            </a:r>
            <a:r>
              <a:t> </a:t>
            </a:r>
            <a:r>
              <a:rPr err="1"/>
              <a:t>educação</a:t>
            </a:r>
            <a:r>
              <a:t> </a:t>
            </a:r>
            <a:r>
              <a:rPr err="1"/>
              <a:t>permite</a:t>
            </a:r>
            <a:r>
              <a:t> que meus </a:t>
            </a:r>
            <a:r>
              <a:rPr err="1"/>
              <a:t>filhos</a:t>
            </a:r>
            <a:r>
              <a:t> </a:t>
            </a:r>
            <a:r>
              <a:rPr err="1"/>
              <a:t>tenham</a:t>
            </a:r>
            <a:r>
              <a:t> </a:t>
            </a:r>
            <a:r>
              <a:rPr err="1"/>
              <a:t>mais</a:t>
            </a:r>
            <a:r>
              <a:t> </a:t>
            </a:r>
            <a:r>
              <a:rPr err="1"/>
              <a:t>oportunidades</a:t>
            </a:r>
            <a:r>
              <a:t>. Eu </a:t>
            </a:r>
            <a:r>
              <a:rPr err="1"/>
              <a:t>nunca</a:t>
            </a:r>
            <a:r>
              <a:t> </a:t>
            </a:r>
            <a:r>
              <a:rPr err="1"/>
              <a:t>poderia</a:t>
            </a:r>
            <a:r>
              <a:t> </a:t>
            </a:r>
            <a:r>
              <a:rPr err="1"/>
              <a:t>dizer</a:t>
            </a:r>
            <a:r>
              <a:t> </a:t>
            </a:r>
            <a:r>
              <a:rPr err="1"/>
              <a:t>obrigado</a:t>
            </a:r>
            <a:r>
              <a:t> o </a:t>
            </a:r>
            <a:r>
              <a:rPr err="1"/>
              <a:t>suficiente</a:t>
            </a:r>
            <a:r>
              <a:t>."</a:t>
            </a:r>
            <a:endParaRPr lang="en-US">
              <a:latin typeface="Calibri Light"/>
              <a:cs typeface="Calibri" panose="020F0502020204030204"/>
            </a:endParaRPr>
          </a:p>
        </p:txBody>
      </p:sp>
      <p:pic>
        <p:nvPicPr>
          <p:cNvPr id="3" name="Picture 9">
            <a:extLst>
              <a:ext uri="{FF2B5EF4-FFF2-40B4-BE49-F238E27FC236}">
                <a16:creationId xmlns:a16="http://schemas.microsoft.com/office/drawing/2014/main" id="{B826741E-9EB6-2B8C-6701-BD65A24516EE}"/>
              </a:ext>
            </a:extLst>
          </p:cNvPr>
          <p:cNvPicPr>
            <a:picLocks noChangeAspect="1"/>
          </p:cNvPicPr>
          <p:nvPr/>
        </p:nvPicPr>
        <p:blipFill>
          <a:blip r:embed="rId4"/>
          <a:stretch>
            <a:fillRect/>
          </a:stretch>
        </p:blipFill>
        <p:spPr>
          <a:xfrm>
            <a:off x="734400" y="1597829"/>
            <a:ext cx="3865200" cy="3974341"/>
          </a:xfrm>
          <a:prstGeom prst="rect">
            <a:avLst/>
          </a:prstGeom>
        </p:spPr>
      </p:pic>
    </p:spTree>
    <p:extLst>
      <p:ext uri="{BB962C8B-B14F-4D97-AF65-F5344CB8AC3E}">
        <p14:creationId xmlns:p14="http://schemas.microsoft.com/office/powerpoint/2010/main" val="271686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1" descr="A picture containing commencement, academic costume, graduation, person  Description automatically generated">
            <a:extLst>
              <a:ext uri="{FF2B5EF4-FFF2-40B4-BE49-F238E27FC236}">
                <a16:creationId xmlns:a16="http://schemas.microsoft.com/office/drawing/2014/main" id="{22D7E746-F8D4-1C77-BAFF-C9D0C760BEC5}"/>
              </a:ext>
            </a:extLst>
          </p:cNvPr>
          <p:cNvPicPr>
            <a:picLocks noChangeAspect="1"/>
          </p:cNvPicPr>
          <p:nvPr/>
        </p:nvPicPr>
        <p:blipFill rotWithShape="1">
          <a:blip r:embed="rId3"/>
          <a:srcRect l="-250" t="17893" r="7167" b="13835"/>
          <a:stretch/>
        </p:blipFill>
        <p:spPr>
          <a:xfrm>
            <a:off x="-44603" y="-39523"/>
            <a:ext cx="12304308" cy="6073972"/>
          </a:xfrm>
          <a:prstGeom prst="rect">
            <a:avLst/>
          </a:prstGeom>
        </p:spPr>
      </p:pic>
      <p:sp>
        <p:nvSpPr>
          <p:cNvPr id="18" name="Rectangle 17">
            <a:extLst>
              <a:ext uri="{FF2B5EF4-FFF2-40B4-BE49-F238E27FC236}">
                <a16:creationId xmlns:a16="http://schemas.microsoft.com/office/drawing/2014/main" id="{FA3A9F34-98D4-9547-B942-3279C8707609}"/>
              </a:ext>
            </a:extLst>
          </p:cNvPr>
          <p:cNvSpPr/>
          <p:nvPr/>
        </p:nvSpPr>
        <p:spPr>
          <a:xfrm>
            <a:off x="-20601" y="5772902"/>
            <a:ext cx="12290555" cy="1119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2027928" y="5979849"/>
            <a:ext cx="9376642" cy="9111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rPr err="1"/>
              <a:t>Encontre</a:t>
            </a:r>
            <a:r>
              <a:t> um </a:t>
            </a:r>
            <a:r>
              <a:rPr err="1"/>
              <a:t>caminho</a:t>
            </a:r>
            <a:r>
              <a:t> a </a:t>
            </a:r>
            <a:r>
              <a:rPr err="1"/>
              <a:t>seguir</a:t>
            </a:r>
            <a:endParaRPr lang="en-US" sz="4800" err="1">
              <a:solidFill>
                <a:schemeClr val="bg1"/>
              </a:solidFill>
              <a:latin typeface="Roboto Slab Light"/>
            </a:endParaRPr>
          </a:p>
        </p:txBody>
      </p:sp>
      <p:sp>
        <p:nvSpPr>
          <p:cNvPr id="7" name="Rectangle 6">
            <a:extLst>
              <a:ext uri="{FF2B5EF4-FFF2-40B4-BE49-F238E27FC236}">
                <a16:creationId xmlns:a16="http://schemas.microsoft.com/office/drawing/2014/main" id="{3D54DC1D-795B-CFD9-404F-0F73FCE19CC1}"/>
              </a:ext>
            </a:extLst>
          </p:cNvPr>
          <p:cNvSpPr/>
          <p:nvPr/>
        </p:nvSpPr>
        <p:spPr>
          <a:xfrm>
            <a:off x="389169" y="5306892"/>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Graphic 6">
            <a:extLst>
              <a:ext uri="{FF2B5EF4-FFF2-40B4-BE49-F238E27FC236}">
                <a16:creationId xmlns:a16="http://schemas.microsoft.com/office/drawing/2014/main" id="{00116DBE-508C-B3C7-FB0C-B5908D6D3A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2678" y="5329696"/>
            <a:ext cx="1348800" cy="1366800"/>
          </a:xfrm>
          <a:prstGeom prst="rect">
            <a:avLst/>
          </a:prstGeom>
        </p:spPr>
      </p:pic>
    </p:spTree>
    <p:extLst>
      <p:ext uri="{BB962C8B-B14F-4D97-AF65-F5344CB8AC3E}">
        <p14:creationId xmlns:p14="http://schemas.microsoft.com/office/powerpoint/2010/main" val="78796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2BCF8038-2EBE-8449-8098-DA5993145292}"/>
              </a:ext>
            </a:extLst>
          </p:cNvPr>
          <p:cNvPicPr>
            <a:picLocks noGrp="1" noChangeAspect="1"/>
          </p:cNvPicPr>
          <p:nvPr>
            <p:ph type="pic" idx="1"/>
          </p:nvPr>
        </p:nvPicPr>
        <p:blipFill>
          <a:blip r:embed="rId3" cstate="email">
            <a:extLst>
              <a:ext uri="{28A0092B-C50C-407E-A947-70E740481C1C}">
                <a14:useLocalDpi xmlns:a14="http://schemas.microsoft.com/office/drawing/2010/main"/>
              </a:ext>
            </a:extLst>
          </a:blip>
          <a:srcRect/>
          <a:stretch>
            <a:fillRect/>
          </a:stretch>
        </p:blipFill>
        <p:spPr>
          <a:xfrm>
            <a:off x="949407" y="963936"/>
            <a:ext cx="3534234" cy="4930128"/>
          </a:xfrm>
        </p:spPr>
      </p:pic>
      <p:sp>
        <p:nvSpPr>
          <p:cNvPr id="2" name="Text Placeholder 1">
            <a:extLst>
              <a:ext uri="{FF2B5EF4-FFF2-40B4-BE49-F238E27FC236}">
                <a16:creationId xmlns:a16="http://schemas.microsoft.com/office/drawing/2014/main" id="{E27E51CC-9616-6D42-B578-1FC5CE6B351E}"/>
              </a:ext>
            </a:extLst>
          </p:cNvPr>
          <p:cNvSpPr>
            <a:spLocks noGrp="1"/>
          </p:cNvSpPr>
          <p:nvPr>
            <p:ph type="body" sz="quarter" idx="15"/>
          </p:nvPr>
        </p:nvSpPr>
        <p:spPr>
          <a:xfrm>
            <a:off x="5187206" y="4466404"/>
            <a:ext cx="6207125" cy="1135782"/>
          </a:xfrm>
        </p:spPr>
        <p:txBody>
          <a:bodyPr vert="horz" lIns="91440" tIns="45720" rIns="91440" bIns="45720" anchor="t">
            <a:normAutofit/>
          </a:bodyPr>
          <a:lstStyle/>
          <a:p>
            <a:pPr marL="91440" indent="-457200">
              <a:defRPr sz="2000" spc="90"/>
            </a:pPr>
            <a:r>
              <a:rPr>
                <a:solidFill>
                  <a:schemeClr val="tx2">
                    <a:lumMod val="90000"/>
                    <a:lumOff val="10000"/>
                  </a:schemeClr>
                </a:solidFill>
              </a:rPr>
              <a:t> </a:t>
            </a:r>
            <a:r>
              <a:t>PRESIDENTE RUSSELL M. NELSON</a:t>
            </a:r>
          </a:p>
          <a:p>
            <a:pPr marL="91440" indent="-457200"/>
            <a:endParaRPr lang="en-US" sz="300" spc="90"/>
          </a:p>
          <a:p>
            <a:pPr marL="91440" indent="-457200">
              <a:defRPr i="1"/>
            </a:pPr>
            <a:r>
              <a:t>"</a:t>
            </a:r>
            <a:r>
              <a:rPr err="1">
                <a:ea typeface="+mj-lt"/>
                <a:cs typeface="+mj-lt"/>
              </a:rPr>
              <a:t>Inauguração</a:t>
            </a:r>
            <a:r>
              <a:rPr>
                <a:ea typeface="+mj-lt"/>
                <a:cs typeface="+mj-lt"/>
              </a:rPr>
              <a:t> de Clark G. Gilbert" (BYU-Pathway Worldwide Inauguration, 16 de </a:t>
            </a:r>
            <a:r>
              <a:rPr err="1">
                <a:ea typeface="+mj-lt"/>
                <a:cs typeface="+mj-lt"/>
              </a:rPr>
              <a:t>novembro</a:t>
            </a:r>
            <a:r>
              <a:rPr>
                <a:ea typeface="+mj-lt"/>
                <a:cs typeface="+mj-lt"/>
              </a:rPr>
              <a:t> de 2017), byupathway.org/speeches</a:t>
            </a:r>
          </a:p>
          <a:p>
            <a:pPr marL="91440" indent="-457200"/>
            <a:endParaRPr lang="en-US" i="1">
              <a:cs typeface="Calibri Light"/>
            </a:endParaRPr>
          </a:p>
        </p:txBody>
      </p:sp>
      <p:sp>
        <p:nvSpPr>
          <p:cNvPr id="4" name="Slide Number Placeholder 3">
            <a:extLst>
              <a:ext uri="{FF2B5EF4-FFF2-40B4-BE49-F238E27FC236}">
                <a16:creationId xmlns:a16="http://schemas.microsoft.com/office/drawing/2014/main" id="{AE6F4071-8806-6945-8B92-7B7F1DFFF373}"/>
              </a:ext>
            </a:extLst>
          </p:cNvPr>
          <p:cNvSpPr>
            <a:spLocks noGrp="1"/>
          </p:cNvSpPr>
          <p:nvPr>
            <p:ph type="sldNum" sz="quarter" idx="4"/>
          </p:nvPr>
        </p:nvSpPr>
        <p:spPr>
          <a:xfrm>
            <a:off x="8799668" y="6356350"/>
            <a:ext cx="2743200" cy="365125"/>
          </a:xfrm>
        </p:spPr>
        <p:txBody>
          <a:bodyPr/>
          <a:lstStyle/>
          <a:p>
            <a:fld id="{8893C2FB-EF86-FD49-89EB-659751C15892}" type="slidenum">
              <a:rPr lang="en-US" dirty="0" smtClean="0"/>
              <a:t>21</a:t>
            </a:fld>
            <a:endParaRPr lang="en-US"/>
          </a:p>
        </p:txBody>
      </p:sp>
      <p:sp>
        <p:nvSpPr>
          <p:cNvPr id="11" name="Rectangle 10">
            <a:extLst>
              <a:ext uri="{FF2B5EF4-FFF2-40B4-BE49-F238E27FC236}">
                <a16:creationId xmlns:a16="http://schemas.microsoft.com/office/drawing/2014/main" id="{30C5D16C-14E2-EB05-3070-CA1F80EFF499}"/>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2" name="Picture 11" descr="Text  Description automatically generated">
            <a:extLst>
              <a:ext uri="{FF2B5EF4-FFF2-40B4-BE49-F238E27FC236}">
                <a16:creationId xmlns:a16="http://schemas.microsoft.com/office/drawing/2014/main" id="{C48AEFC2-07B0-174B-70A2-0E53F448DE8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3" name="TextBox 2">
            <a:extLst>
              <a:ext uri="{FF2B5EF4-FFF2-40B4-BE49-F238E27FC236}">
                <a16:creationId xmlns:a16="http://schemas.microsoft.com/office/drawing/2014/main" id="{6D06104A-829B-66CC-9B73-FC55C759289C}"/>
              </a:ext>
            </a:extLst>
          </p:cNvPr>
          <p:cNvSpPr txBox="1"/>
          <p:nvPr/>
        </p:nvSpPr>
        <p:spPr>
          <a:xfrm>
            <a:off x="5107367" y="1961351"/>
            <a:ext cx="5435980" cy="1815882"/>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A BYU-Pathway Worldwide </a:t>
            </a:r>
            <a:r>
              <a:rPr err="1"/>
              <a:t>traz</a:t>
            </a:r>
            <a:r>
              <a:t> </a:t>
            </a:r>
            <a:r>
              <a:rPr err="1"/>
              <a:t>uma</a:t>
            </a:r>
            <a:r>
              <a:t> </a:t>
            </a:r>
            <a:r>
              <a:rPr err="1"/>
              <a:t>abordagem</a:t>
            </a:r>
            <a:r>
              <a:t> </a:t>
            </a:r>
            <a:r>
              <a:rPr err="1"/>
              <a:t>inovadora</a:t>
            </a:r>
            <a:r>
              <a:t> para a </a:t>
            </a:r>
            <a:r>
              <a:rPr err="1"/>
              <a:t>educação</a:t>
            </a:r>
            <a:r>
              <a:t> — </a:t>
            </a:r>
            <a:r>
              <a:rPr err="1"/>
              <a:t>única</a:t>
            </a:r>
            <a:r>
              <a:t> no Sistema </a:t>
            </a:r>
            <a:r>
              <a:rPr err="1"/>
              <a:t>Educacional</a:t>
            </a:r>
            <a:r>
              <a:t> da </a:t>
            </a:r>
            <a:r>
              <a:rPr err="1"/>
              <a:t>Igreja</a:t>
            </a:r>
            <a:r>
              <a:t> e no </a:t>
            </a:r>
            <a:r>
              <a:rPr err="1"/>
              <a:t>mundo</a:t>
            </a:r>
            <a:r>
              <a:t>."</a:t>
            </a:r>
            <a:endParaRPr lang="en-US">
              <a:latin typeface="Calibri Light"/>
              <a:cs typeface="Calibri" panose="020F0502020204030204"/>
            </a:endParaRPr>
          </a:p>
        </p:txBody>
      </p:sp>
    </p:spTree>
    <p:extLst>
      <p:ext uri="{BB962C8B-B14F-4D97-AF65-F5344CB8AC3E}">
        <p14:creationId xmlns:p14="http://schemas.microsoft.com/office/powerpoint/2010/main" val="8112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54BE8D-8FA8-E848-A8A4-B29156438D36}"/>
              </a:ext>
            </a:extLst>
          </p:cNvPr>
          <p:cNvPicPr>
            <a:picLocks noChangeAspect="1"/>
          </p:cNvPicPr>
          <p:nvPr/>
        </p:nvPicPr>
        <p:blipFill>
          <a:blip r:embed="rId4">
            <a:alphaModFix/>
          </a:blip>
          <a:stretch>
            <a:fillRect/>
          </a:stretch>
        </p:blipFill>
        <p:spPr>
          <a:xfrm>
            <a:off x="152400" y="2361520"/>
            <a:ext cx="12030844" cy="4187952"/>
          </a:xfrm>
          <a:prstGeom prst="rect">
            <a:avLst/>
          </a:prstGeom>
        </p:spPr>
      </p:pic>
      <p:grpSp>
        <p:nvGrpSpPr>
          <p:cNvPr id="8" name="Group 7">
            <a:extLst>
              <a:ext uri="{FF2B5EF4-FFF2-40B4-BE49-F238E27FC236}">
                <a16:creationId xmlns:a16="http://schemas.microsoft.com/office/drawing/2014/main" id="{B9743748-029C-BA4B-BFEB-538BEAB6647F}"/>
              </a:ext>
            </a:extLst>
          </p:cNvPr>
          <p:cNvGrpSpPr/>
          <p:nvPr/>
        </p:nvGrpSpPr>
        <p:grpSpPr>
          <a:xfrm>
            <a:off x="6795038" y="4283271"/>
            <a:ext cx="3478900" cy="1431729"/>
            <a:chOff x="6933068" y="2489510"/>
            <a:chExt cx="3478900" cy="1431729"/>
          </a:xfrm>
        </p:grpSpPr>
        <p:sp>
          <p:nvSpPr>
            <p:cNvPr id="11" name="Content Placeholder 2">
              <a:extLst>
                <a:ext uri="{FF2B5EF4-FFF2-40B4-BE49-F238E27FC236}">
                  <a16:creationId xmlns:a16="http://schemas.microsoft.com/office/drawing/2014/main" id="{8128025E-2085-7549-B624-6835C7347657}"/>
                </a:ext>
              </a:extLst>
            </p:cNvPr>
            <p:cNvSpPr txBox="1">
              <a:spLocks/>
            </p:cNvSpPr>
            <p:nvPr/>
          </p:nvSpPr>
          <p:spPr>
            <a:xfrm>
              <a:off x="8461800" y="2856526"/>
              <a:ext cx="1257788" cy="574261"/>
            </a:xfrm>
            <a:prstGeom prst="rect">
              <a:avLst/>
            </a:prstGeom>
          </p:spPr>
          <p:txBody>
            <a:bodyPr vert="horz" lIns="91440" tIns="45720" rIns="91440" bIns="45720">
              <a:normAutofit fontScale="92500" lnSpcReduction="2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800" b="1">
                  <a:solidFill>
                    <a:srgbClr val="3A929D"/>
                  </a:solidFill>
                </a:defRPr>
              </a:pPr>
              <a:r>
                <a:t>50</a:t>
              </a:r>
            </a:p>
            <a:p>
              <a:pPr marL="0" indent="0">
                <a:buFont typeface="Arial"/>
                <a:buNone/>
              </a:pPr>
              <a:endParaRPr lang="en-US">
                <a:solidFill>
                  <a:srgbClr val="313031"/>
                </a:solidFill>
              </a:endParaRPr>
            </a:p>
          </p:txBody>
        </p:sp>
        <p:sp>
          <p:nvSpPr>
            <p:cNvPr id="13" name="Content Placeholder 2">
              <a:extLst>
                <a:ext uri="{FF2B5EF4-FFF2-40B4-BE49-F238E27FC236}">
                  <a16:creationId xmlns:a16="http://schemas.microsoft.com/office/drawing/2014/main" id="{3EE4FC85-3420-6E46-9A23-9394895C232D}"/>
                </a:ext>
              </a:extLst>
            </p:cNvPr>
            <p:cNvSpPr txBox="1">
              <a:spLocks/>
            </p:cNvSpPr>
            <p:nvPr/>
          </p:nvSpPr>
          <p:spPr>
            <a:xfrm>
              <a:off x="8473798" y="3314958"/>
              <a:ext cx="1938170" cy="35488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400"/>
              </a:pPr>
              <a:r>
                <a:rPr err="1"/>
                <a:t>Estados</a:t>
              </a:r>
              <a:r>
                <a:t> dos EUA</a:t>
              </a:r>
            </a:p>
            <a:p>
              <a:pPr marL="0" indent="0">
                <a:buFont typeface="Arial"/>
                <a:buNone/>
              </a:pPr>
              <a:endParaRPr lang="en-US" sz="1800">
                <a:solidFill>
                  <a:srgbClr val="313031"/>
                </a:solidFill>
              </a:endParaRPr>
            </a:p>
          </p:txBody>
        </p:sp>
        <p:pic>
          <p:nvPicPr>
            <p:cNvPr id="15" name="Graphic 14">
              <a:extLst>
                <a:ext uri="{FF2B5EF4-FFF2-40B4-BE49-F238E27FC236}">
                  <a16:creationId xmlns:a16="http://schemas.microsoft.com/office/drawing/2014/main" id="{A79687C4-B883-C04E-A357-186FF25D63C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33068" y="2489510"/>
              <a:ext cx="1431729" cy="1431729"/>
            </a:xfrm>
            <a:prstGeom prst="rect">
              <a:avLst/>
            </a:prstGeom>
          </p:spPr>
        </p:pic>
      </p:grpSp>
      <p:sp>
        <p:nvSpPr>
          <p:cNvPr id="7" name="Content Placeholder 2">
            <a:extLst>
              <a:ext uri="{FF2B5EF4-FFF2-40B4-BE49-F238E27FC236}">
                <a16:creationId xmlns:a16="http://schemas.microsoft.com/office/drawing/2014/main" id="{51B62A34-B3B6-4349-92F0-797C0A58AE51}"/>
              </a:ext>
            </a:extLst>
          </p:cNvPr>
          <p:cNvSpPr txBox="1">
            <a:spLocks/>
          </p:cNvSpPr>
          <p:nvPr/>
        </p:nvSpPr>
        <p:spPr>
          <a:xfrm>
            <a:off x="1343362" y="3724047"/>
            <a:ext cx="4587768" cy="144149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9600" b="1">
                <a:solidFill>
                  <a:srgbClr val="3A929D"/>
                </a:solidFill>
              </a:defRPr>
            </a:pPr>
            <a:r>
              <a:t>61.338</a:t>
            </a:r>
            <a:endParaRPr lang="en-US" sz="5400" b="1">
              <a:solidFill>
                <a:srgbClr val="F9C608"/>
              </a:solidFill>
            </a:endParaRPr>
          </a:p>
        </p:txBody>
      </p:sp>
      <p:sp>
        <p:nvSpPr>
          <p:cNvPr id="9" name="Content Placeholder 2">
            <a:extLst>
              <a:ext uri="{FF2B5EF4-FFF2-40B4-BE49-F238E27FC236}">
                <a16:creationId xmlns:a16="http://schemas.microsoft.com/office/drawing/2014/main" id="{DC3A6AFC-2C1E-184F-81B1-63F70349E2B1}"/>
              </a:ext>
            </a:extLst>
          </p:cNvPr>
          <p:cNvSpPr txBox="1">
            <a:spLocks/>
          </p:cNvSpPr>
          <p:nvPr/>
        </p:nvSpPr>
        <p:spPr>
          <a:xfrm>
            <a:off x="1581381" y="5044687"/>
            <a:ext cx="4190092" cy="759595"/>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3100"/>
            </a:pPr>
            <a:r>
              <a:rPr err="1"/>
              <a:t>Alunos</a:t>
            </a:r>
            <a:r>
              <a:t> </a:t>
            </a:r>
            <a:r>
              <a:rPr err="1"/>
              <a:t>atendidos</a:t>
            </a:r>
            <a:r>
              <a:t> </a:t>
            </a:r>
            <a:r>
              <a:rPr err="1"/>
              <a:t>em</a:t>
            </a:r>
            <a:r>
              <a:t> 2022</a:t>
            </a:r>
          </a:p>
          <a:p>
            <a:pPr marL="0" indent="0" algn="ctr">
              <a:buFont typeface="Arial"/>
              <a:buNone/>
            </a:pPr>
            <a:endParaRPr lang="en-US" sz="2000">
              <a:solidFill>
                <a:srgbClr val="313031"/>
              </a:solidFill>
            </a:endParaRPr>
          </a:p>
        </p:txBody>
      </p:sp>
      <p:pic>
        <p:nvPicPr>
          <p:cNvPr id="16" name="Graphic 15">
            <a:extLst>
              <a:ext uri="{FF2B5EF4-FFF2-40B4-BE49-F238E27FC236}">
                <a16:creationId xmlns:a16="http://schemas.microsoft.com/office/drawing/2014/main" id="{08FE6B69-276F-9743-A1BB-44682FF100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83070" y="2396119"/>
            <a:ext cx="1689643" cy="1689643"/>
          </a:xfrm>
          <a:prstGeom prst="rect">
            <a:avLst/>
          </a:prstGeom>
        </p:spPr>
      </p:pic>
      <p:cxnSp>
        <p:nvCxnSpPr>
          <p:cNvPr id="17" name="Straight Connector 16">
            <a:extLst>
              <a:ext uri="{FF2B5EF4-FFF2-40B4-BE49-F238E27FC236}">
                <a16:creationId xmlns:a16="http://schemas.microsoft.com/office/drawing/2014/main" id="{9093A650-F293-D145-A818-A4A6A56F52E6}"/>
              </a:ext>
            </a:extLst>
          </p:cNvPr>
          <p:cNvCxnSpPr>
            <a:cxnSpLocks/>
          </p:cNvCxnSpPr>
          <p:nvPr/>
        </p:nvCxnSpPr>
        <p:spPr>
          <a:xfrm>
            <a:off x="6096000" y="2361520"/>
            <a:ext cx="0" cy="347844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dirty="0" smtClean="0"/>
              <a:t>22</a:t>
            </a:fld>
            <a:endParaRPr lang="en-US"/>
          </a:p>
        </p:txBody>
      </p:sp>
      <p:grpSp>
        <p:nvGrpSpPr>
          <p:cNvPr id="20" name="Group 19">
            <a:extLst>
              <a:ext uri="{FF2B5EF4-FFF2-40B4-BE49-F238E27FC236}">
                <a16:creationId xmlns:a16="http://schemas.microsoft.com/office/drawing/2014/main" id="{3AAF684B-AAA6-D14A-B33D-C5788C76530D}"/>
              </a:ext>
            </a:extLst>
          </p:cNvPr>
          <p:cNvGrpSpPr/>
          <p:nvPr/>
        </p:nvGrpSpPr>
        <p:grpSpPr>
          <a:xfrm>
            <a:off x="6896282" y="2732319"/>
            <a:ext cx="3344998" cy="1126126"/>
            <a:chOff x="7066970" y="4066710"/>
            <a:chExt cx="3344998" cy="1126126"/>
          </a:xfrm>
        </p:grpSpPr>
        <p:pic>
          <p:nvPicPr>
            <p:cNvPr id="14" name="Graphic 13">
              <a:extLst>
                <a:ext uri="{FF2B5EF4-FFF2-40B4-BE49-F238E27FC236}">
                  <a16:creationId xmlns:a16="http://schemas.microsoft.com/office/drawing/2014/main" id="{A54A6C9C-B7AC-A542-9A06-E82407613B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6970" y="4066710"/>
              <a:ext cx="1126126" cy="1126126"/>
            </a:xfrm>
            <a:prstGeom prst="rect">
              <a:avLst/>
            </a:prstGeom>
          </p:spPr>
        </p:pic>
        <p:sp>
          <p:nvSpPr>
            <p:cNvPr id="25" name="Content Placeholder 2">
              <a:extLst>
                <a:ext uri="{FF2B5EF4-FFF2-40B4-BE49-F238E27FC236}">
                  <a16:creationId xmlns:a16="http://schemas.microsoft.com/office/drawing/2014/main" id="{CFED76EC-02F7-7B47-A712-14380461C44A}"/>
                </a:ext>
              </a:extLst>
            </p:cNvPr>
            <p:cNvSpPr txBox="1">
              <a:spLocks/>
            </p:cNvSpPr>
            <p:nvPr/>
          </p:nvSpPr>
          <p:spPr>
            <a:xfrm>
              <a:off x="8461800" y="4068574"/>
              <a:ext cx="1356089" cy="788929"/>
            </a:xfrm>
            <a:prstGeom prst="rect">
              <a:avLst/>
            </a:prstGeom>
          </p:spPr>
          <p:txBody>
            <a:bodyPr vert="horz" lIns="91440" tIns="45720" rIns="91440" bIns="45720">
              <a:normAutofit fontScale="55000" lnSpcReduction="2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5200" b="1">
                  <a:solidFill>
                    <a:srgbClr val="3A929D"/>
                  </a:solidFill>
                </a:defRPr>
              </a:pPr>
              <a:r>
                <a:t>Mais de 180</a:t>
              </a:r>
            </a:p>
            <a:p>
              <a:pPr marL="0" indent="0">
                <a:buFont typeface="Arial"/>
                <a:buNone/>
              </a:pPr>
              <a:endParaRPr lang="en-US">
                <a:solidFill>
                  <a:srgbClr val="313031"/>
                </a:solidFill>
              </a:endParaRPr>
            </a:p>
          </p:txBody>
        </p:sp>
        <p:sp>
          <p:nvSpPr>
            <p:cNvPr id="27" name="Content Placeholder 2">
              <a:extLst>
                <a:ext uri="{FF2B5EF4-FFF2-40B4-BE49-F238E27FC236}">
                  <a16:creationId xmlns:a16="http://schemas.microsoft.com/office/drawing/2014/main" id="{97C45E0F-097C-D54E-9A22-B9CF15C732AE}"/>
                </a:ext>
              </a:extLst>
            </p:cNvPr>
            <p:cNvSpPr txBox="1">
              <a:spLocks/>
            </p:cNvSpPr>
            <p:nvPr/>
          </p:nvSpPr>
          <p:spPr>
            <a:xfrm>
              <a:off x="8473798" y="4704456"/>
              <a:ext cx="1938170" cy="35488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400"/>
              </a:pPr>
              <a:r>
                <a:rPr err="1"/>
                <a:t>Países</a:t>
              </a:r>
            </a:p>
            <a:p>
              <a:pPr marL="0" indent="0">
                <a:buFont typeface="Arial"/>
                <a:buNone/>
              </a:pPr>
              <a:endParaRPr lang="en-US" sz="1800">
                <a:solidFill>
                  <a:srgbClr val="313031"/>
                </a:solidFill>
              </a:endParaRPr>
            </a:p>
          </p:txBody>
        </p:sp>
      </p:grpSp>
      <p:sp>
        <p:nvSpPr>
          <p:cNvPr id="5" name="Rectangle 4">
            <a:extLst>
              <a:ext uri="{FF2B5EF4-FFF2-40B4-BE49-F238E27FC236}">
                <a16:creationId xmlns:a16="http://schemas.microsoft.com/office/drawing/2014/main" id="{ACFA6863-415F-7E51-73CA-568F029B5D0E}"/>
              </a:ext>
            </a:extLst>
          </p:cNvPr>
          <p:cNvSpPr/>
          <p:nvPr/>
        </p:nvSpPr>
        <p:spPr>
          <a:xfrm>
            <a:off x="4985657" y="0"/>
            <a:ext cx="2220686" cy="1854926"/>
          </a:xfrm>
          <a:prstGeom prst="rect">
            <a:avLst/>
          </a:prstGeom>
          <a:solidFill>
            <a:srgbClr val="F9C6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6" name="Picture 5" descr="Text  Description automatically generated">
            <a:extLst>
              <a:ext uri="{FF2B5EF4-FFF2-40B4-BE49-F238E27FC236}">
                <a16:creationId xmlns:a16="http://schemas.microsoft.com/office/drawing/2014/main" id="{62D59408-DB23-CF42-2029-4014192AE2B1}"/>
              </a:ext>
            </a:extLst>
          </p:cNvPr>
          <p:cNvPicPr>
            <a:picLocks noChangeAspect="1"/>
          </p:cNvPicPr>
          <p:nvPr/>
        </p:nvPicPr>
        <p:blipFill>
          <a:blip r:embed="rId11"/>
          <a:stretch>
            <a:fillRect/>
          </a:stretch>
        </p:blipFill>
        <p:spPr>
          <a:xfrm>
            <a:off x="5222649" y="379389"/>
            <a:ext cx="1743270" cy="1096147"/>
          </a:xfrm>
          <a:prstGeom prst="rect">
            <a:avLst/>
          </a:prstGeom>
        </p:spPr>
      </p:pic>
    </p:spTree>
    <p:extLst>
      <p:ext uri="{BB962C8B-B14F-4D97-AF65-F5344CB8AC3E}">
        <p14:creationId xmlns:p14="http://schemas.microsoft.com/office/powerpoint/2010/main" val="67867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D2BDDA9-AB6E-6BCB-E09E-9803C27E2FD2}"/>
              </a:ext>
            </a:extLst>
          </p:cNvPr>
          <p:cNvSpPr txBox="1">
            <a:spLocks/>
          </p:cNvSpPr>
          <p:nvPr/>
        </p:nvSpPr>
        <p:spPr>
          <a:xfrm>
            <a:off x="284372" y="3607695"/>
            <a:ext cx="6207125" cy="800116"/>
          </a:xfrm>
          <a:prstGeom prst="rect">
            <a:avLst/>
          </a:prstGeom>
        </p:spPr>
        <p:txBody>
          <a:bodyPr vert="horz"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buNone/>
              <a:defRPr sz="2000" spc="100">
                <a:solidFill>
                  <a:schemeClr val="tx2">
                    <a:lumMod val="75000"/>
                    <a:lumOff val="25000"/>
                  </a:schemeClr>
                </a:solidFill>
                <a:latin typeface="+mj-lt"/>
                <a:ea typeface="+mj-lt"/>
                <a:cs typeface="+mj-lt"/>
              </a:defRPr>
            </a:pPr>
            <a:r>
              <a:t>ÉLDER KIM B. CLARK</a:t>
            </a:r>
            <a:endParaRPr lang="en-US" sz="2000">
              <a:solidFill>
                <a:schemeClr val="tx2">
                  <a:lumMod val="75000"/>
                  <a:lumOff val="25000"/>
                </a:schemeClr>
              </a:solidFill>
              <a:cs typeface="Calibri" panose="020F0502020204030204"/>
            </a:endParaRPr>
          </a:p>
          <a:p>
            <a:pPr marL="0" indent="0">
              <a:lnSpc>
                <a:spcPct val="100000"/>
              </a:lnSpc>
              <a:spcBef>
                <a:spcPts val="0"/>
              </a:spcBef>
              <a:buNone/>
              <a:defRPr sz="1600" i="1" spc="100">
                <a:solidFill>
                  <a:schemeClr val="tx2">
                    <a:lumMod val="75000"/>
                    <a:lumOff val="25000"/>
                  </a:schemeClr>
                </a:solidFill>
                <a:latin typeface="+mj-lt"/>
                <a:cs typeface="Calibri Light" panose="020F0302020204030204"/>
              </a:defRPr>
            </a:pPr>
            <a:r>
              <a:t>Ex-</a:t>
            </a:r>
            <a:r>
              <a:rPr err="1"/>
              <a:t>Comissário</a:t>
            </a:r>
            <a:r>
              <a:t> do Sistema </a:t>
            </a:r>
            <a:r>
              <a:rPr err="1"/>
              <a:t>Educacional</a:t>
            </a:r>
            <a:r>
              <a:t> da </a:t>
            </a:r>
            <a:r>
              <a:rPr err="1"/>
              <a:t>Igreja</a:t>
            </a:r>
          </a:p>
        </p:txBody>
      </p:sp>
      <p:sp>
        <p:nvSpPr>
          <p:cNvPr id="7" name="TextBox 6">
            <a:extLst>
              <a:ext uri="{FF2B5EF4-FFF2-40B4-BE49-F238E27FC236}">
                <a16:creationId xmlns:a16="http://schemas.microsoft.com/office/drawing/2014/main" id="{941A5633-AA7A-14B8-7713-9258B29BC47B}"/>
              </a:ext>
            </a:extLst>
          </p:cNvPr>
          <p:cNvSpPr txBox="1"/>
          <p:nvPr/>
        </p:nvSpPr>
        <p:spPr>
          <a:xfrm>
            <a:off x="141274" y="1967224"/>
            <a:ext cx="5986580" cy="1384995"/>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É um </a:t>
            </a:r>
            <a:r>
              <a:rPr err="1"/>
              <a:t>milagre</a:t>
            </a:r>
            <a:r>
              <a:t> </a:t>
            </a:r>
            <a:r>
              <a:rPr err="1"/>
              <a:t>podermos</a:t>
            </a:r>
            <a:r>
              <a:t> </a:t>
            </a:r>
            <a:r>
              <a:rPr err="1"/>
              <a:t>dizer</a:t>
            </a:r>
            <a:r>
              <a:t> </a:t>
            </a:r>
            <a:r>
              <a:rPr err="1"/>
              <a:t>hoje</a:t>
            </a:r>
            <a:r>
              <a:t> que a BYU-Pathway é </a:t>
            </a:r>
            <a:r>
              <a:rPr err="1"/>
              <a:t>uma</a:t>
            </a:r>
            <a:r>
              <a:t> </a:t>
            </a:r>
            <a:r>
              <a:rPr err="1"/>
              <a:t>escola</a:t>
            </a:r>
            <a:r>
              <a:t> </a:t>
            </a:r>
            <a:r>
              <a:rPr err="1"/>
              <a:t>em</a:t>
            </a:r>
            <a:r>
              <a:t> </a:t>
            </a:r>
            <a:r>
              <a:rPr err="1"/>
              <a:t>Sião</a:t>
            </a:r>
            <a:r>
              <a:t>, </a:t>
            </a:r>
            <a:r>
              <a:rPr err="1"/>
              <a:t>onde</a:t>
            </a:r>
            <a:r>
              <a:t> </a:t>
            </a:r>
            <a:r>
              <a:rPr err="1"/>
              <a:t>quer</a:t>
            </a:r>
            <a:r>
              <a:t> que </a:t>
            </a:r>
            <a:r>
              <a:rPr err="1"/>
              <a:t>Sião</a:t>
            </a:r>
            <a:r>
              <a:t> </a:t>
            </a:r>
            <a:r>
              <a:rPr err="1"/>
              <a:t>esteja</a:t>
            </a:r>
            <a:r>
              <a:t>."</a:t>
            </a:r>
            <a:endParaRPr lang="en-US" sz="2800">
              <a:latin typeface="Calibri Light"/>
              <a:cs typeface="Calibri" panose="020F0502020204030204"/>
            </a:endParaRPr>
          </a:p>
        </p:txBody>
      </p:sp>
    </p:spTree>
    <p:extLst>
      <p:ext uri="{BB962C8B-B14F-4D97-AF65-F5344CB8AC3E}">
        <p14:creationId xmlns:p14="http://schemas.microsoft.com/office/powerpoint/2010/main" val="276850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401415" y="4854083"/>
            <a:ext cx="6207125" cy="962488"/>
          </a:xfrm>
        </p:spPr>
        <p:txBody>
          <a:bodyPr vert="horz" lIns="91440" tIns="45720" rIns="91440" bIns="45720" anchor="t">
            <a:normAutofit/>
          </a:bodyPr>
          <a:lstStyle/>
          <a:p>
            <a:pPr marL="4445">
              <a:defRPr sz="2000"/>
            </a:pPr>
            <a:r>
              <a:t>MARIA JOSÉ MERCAU</a:t>
            </a:r>
          </a:p>
          <a:p>
            <a:pPr marL="4445">
              <a:defRPr i="1"/>
            </a:pPr>
            <a:r>
              <a:t>Argentina</a:t>
            </a:r>
            <a:endParaRPr lang="en-US">
              <a:ea typeface="Calibri Light" panose="020F0302020204030204"/>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24</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1" name="Picture Placeholder 10" descr="A person wearing glasses  Description automatically generated with low confidence">
            <a:extLst>
              <a:ext uri="{FF2B5EF4-FFF2-40B4-BE49-F238E27FC236}">
                <a16:creationId xmlns:a16="http://schemas.microsoft.com/office/drawing/2014/main" id="{297993C7-097B-B3D4-7543-C6CE860418A6}"/>
              </a:ext>
            </a:extLst>
          </p:cNvPr>
          <p:cNvPicPr>
            <a:picLocks noGrp="1" noChangeAspect="1"/>
          </p:cNvPicPr>
          <p:nvPr>
            <p:ph type="pic" idx="1"/>
          </p:nvPr>
        </p:nvPicPr>
        <p:blipFill>
          <a:blip r:embed="rId4" cstate="screen">
            <a:extLst>
              <a:ext uri="{28A0092B-C50C-407E-A947-70E740481C1C}">
                <a14:useLocalDpi xmlns:a14="http://schemas.microsoft.com/office/drawing/2010/main"/>
              </a:ext>
            </a:extLst>
          </a:blip>
          <a:srcRect/>
          <a:stretch>
            <a:fillRect/>
          </a:stretch>
        </p:blipFill>
        <p:spPr>
          <a:xfrm>
            <a:off x="1058149" y="952925"/>
            <a:ext cx="3527109" cy="4960571"/>
          </a:xfrm>
        </p:spPr>
      </p:pic>
      <p:sp>
        <p:nvSpPr>
          <p:cNvPr id="6" name="TextBox 5">
            <a:extLst>
              <a:ext uri="{FF2B5EF4-FFF2-40B4-BE49-F238E27FC236}">
                <a16:creationId xmlns:a16="http://schemas.microsoft.com/office/drawing/2014/main" id="{D4E20C81-273A-914E-0603-17C8EC006BC0}"/>
              </a:ext>
            </a:extLst>
          </p:cNvPr>
          <p:cNvSpPr txBox="1"/>
          <p:nvPr/>
        </p:nvSpPr>
        <p:spPr>
          <a:xfrm>
            <a:off x="5224101" y="1611771"/>
            <a:ext cx="5939933" cy="3108543"/>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Devido à </a:t>
            </a:r>
            <a:r>
              <a:rPr err="1"/>
              <a:t>pandemia</a:t>
            </a:r>
            <a:r>
              <a:t>, </a:t>
            </a:r>
            <a:r>
              <a:rPr err="1"/>
              <a:t>perdi</a:t>
            </a:r>
            <a:r>
              <a:t> o </a:t>
            </a:r>
            <a:r>
              <a:rPr err="1"/>
              <a:t>emprego</a:t>
            </a:r>
            <a:r>
              <a:t>. </a:t>
            </a:r>
            <a:r>
              <a:rPr err="1"/>
              <a:t>Resolvi</a:t>
            </a:r>
            <a:r>
              <a:t> </a:t>
            </a:r>
            <a:r>
              <a:rPr err="1"/>
              <a:t>tirar</a:t>
            </a:r>
            <a:r>
              <a:t> o </a:t>
            </a:r>
            <a:r>
              <a:rPr err="1"/>
              <a:t>melhor</a:t>
            </a:r>
            <a:r>
              <a:t> </a:t>
            </a:r>
            <a:r>
              <a:rPr err="1"/>
              <a:t>proveito</a:t>
            </a:r>
            <a:r>
              <a:t> da </a:t>
            </a:r>
            <a:r>
              <a:rPr err="1"/>
              <a:t>situação</a:t>
            </a:r>
            <a:r>
              <a:t>, </a:t>
            </a:r>
            <a:r>
              <a:rPr err="1"/>
              <a:t>iniciando</a:t>
            </a:r>
            <a:r>
              <a:t> </a:t>
            </a:r>
            <a:r>
              <a:rPr err="1"/>
              <a:t>uma</a:t>
            </a:r>
            <a:r>
              <a:t> nova </a:t>
            </a:r>
            <a:r>
              <a:rPr err="1"/>
              <a:t>carreira</a:t>
            </a:r>
            <a:r>
              <a:t> e </a:t>
            </a:r>
            <a:r>
              <a:rPr err="1"/>
              <a:t>estudando</a:t>
            </a:r>
            <a:r>
              <a:t> </a:t>
            </a:r>
            <a:r>
              <a:rPr err="1"/>
              <a:t>através</a:t>
            </a:r>
            <a:r>
              <a:t> da BYU-Pathway. Agora sou </a:t>
            </a:r>
            <a:r>
              <a:rPr err="1"/>
              <a:t>uma</a:t>
            </a:r>
            <a:r>
              <a:t> </a:t>
            </a:r>
            <a:r>
              <a:rPr err="1"/>
              <a:t>agente</a:t>
            </a:r>
            <a:r>
              <a:t> de help desk de TI </a:t>
            </a:r>
            <a:r>
              <a:rPr err="1"/>
              <a:t>em</a:t>
            </a:r>
            <a:r>
              <a:t> tempo integral, </a:t>
            </a:r>
            <a:r>
              <a:rPr err="1"/>
              <a:t>ganhando</a:t>
            </a:r>
            <a:r>
              <a:t> </a:t>
            </a:r>
            <a:r>
              <a:rPr err="1"/>
              <a:t>mais</a:t>
            </a:r>
            <a:r>
              <a:t> do que o dobro </a:t>
            </a:r>
            <a:r>
              <a:rPr err="1"/>
              <a:t>trabalhando</a:t>
            </a:r>
            <a:r>
              <a:t> </a:t>
            </a:r>
            <a:r>
              <a:rPr err="1"/>
              <a:t>em</a:t>
            </a:r>
            <a:r>
              <a:t> casa."</a:t>
            </a:r>
            <a:endParaRPr lang="en-US">
              <a:latin typeface="Calibri Light"/>
              <a:cs typeface="Calibri" panose="020F0502020204030204"/>
            </a:endParaRPr>
          </a:p>
        </p:txBody>
      </p:sp>
    </p:spTree>
    <p:extLst>
      <p:ext uri="{BB962C8B-B14F-4D97-AF65-F5344CB8AC3E}">
        <p14:creationId xmlns:p14="http://schemas.microsoft.com/office/powerpoint/2010/main" val="262665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473441" y="4891719"/>
            <a:ext cx="6207125" cy="962488"/>
          </a:xfrm>
        </p:spPr>
        <p:txBody>
          <a:bodyPr vert="horz" lIns="91440" tIns="45720" rIns="91440" bIns="45720" anchor="t">
            <a:normAutofit/>
          </a:bodyPr>
          <a:lstStyle/>
          <a:p>
            <a:pPr marL="4445">
              <a:defRPr sz="2000">
                <a:ea typeface="+mj-lt"/>
                <a:cs typeface="+mj-lt"/>
              </a:defRPr>
            </a:pPr>
            <a:r>
              <a:t>ALLISON MICKELSON</a:t>
            </a:r>
            <a:endParaRPr lang="en-US" sz="2000"/>
          </a:p>
          <a:p>
            <a:pPr marL="4445">
              <a:defRPr i="1">
                <a:cs typeface="Calibri Light" panose="020F0302020204030204"/>
              </a:defRPr>
            </a:pPr>
            <a:r>
              <a:t>EUA</a:t>
            </a:r>
            <a:endParaRPr lang="en-US" i="1">
              <a:ea typeface="Calibri Light"/>
              <a:cs typeface="Calibri Light" panose="020F0302020204030204"/>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25</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2" name="Picture 5" descr="A person wearing a graduation cap and gown  Description automatically generated">
            <a:extLst>
              <a:ext uri="{FF2B5EF4-FFF2-40B4-BE49-F238E27FC236}">
                <a16:creationId xmlns:a16="http://schemas.microsoft.com/office/drawing/2014/main" id="{7E232541-522F-A524-6E49-76D26F1E0210}"/>
              </a:ext>
            </a:extLst>
          </p:cNvPr>
          <p:cNvPicPr>
            <a:picLocks noChangeAspect="1"/>
          </p:cNvPicPr>
          <p:nvPr/>
        </p:nvPicPr>
        <p:blipFill rotWithShape="1">
          <a:blip r:embed="rId4"/>
          <a:srcRect l="24194" t="382" r="38160" b="255"/>
          <a:stretch/>
        </p:blipFill>
        <p:spPr>
          <a:xfrm>
            <a:off x="1107991" y="971990"/>
            <a:ext cx="3531051" cy="4908540"/>
          </a:xfrm>
          <a:prstGeom prst="rect">
            <a:avLst/>
          </a:prstGeom>
        </p:spPr>
      </p:pic>
      <p:sp>
        <p:nvSpPr>
          <p:cNvPr id="7" name="TextBox 6">
            <a:extLst>
              <a:ext uri="{FF2B5EF4-FFF2-40B4-BE49-F238E27FC236}">
                <a16:creationId xmlns:a16="http://schemas.microsoft.com/office/drawing/2014/main" id="{72D8B01B-E85A-CFCC-0B85-4D1CC7F40238}"/>
              </a:ext>
            </a:extLst>
          </p:cNvPr>
          <p:cNvSpPr txBox="1"/>
          <p:nvPr/>
        </p:nvSpPr>
        <p:spPr>
          <a:xfrm>
            <a:off x="5289777" y="1929138"/>
            <a:ext cx="6315684"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Calibri Light"/>
              </a:defRPr>
            </a:pPr>
            <a:r>
              <a:t>"Era </a:t>
            </a:r>
            <a:r>
              <a:rPr err="1"/>
              <a:t>exatamente</a:t>
            </a:r>
            <a:r>
              <a:t> </a:t>
            </a:r>
            <a:r>
              <a:rPr err="1"/>
              <a:t>isso</a:t>
            </a:r>
            <a:r>
              <a:t> que </a:t>
            </a:r>
            <a:r>
              <a:rPr err="1"/>
              <a:t>eu</a:t>
            </a:r>
            <a:r>
              <a:t> </a:t>
            </a:r>
            <a:r>
              <a:rPr err="1"/>
              <a:t>precisava</a:t>
            </a:r>
            <a:r>
              <a:t> para </a:t>
            </a:r>
            <a:r>
              <a:rPr err="1"/>
              <a:t>ganhar</a:t>
            </a:r>
            <a:r>
              <a:t> </a:t>
            </a:r>
            <a:r>
              <a:rPr err="1"/>
              <a:t>confiança</a:t>
            </a:r>
            <a:r>
              <a:t> e </a:t>
            </a:r>
            <a:r>
              <a:rPr err="1"/>
              <a:t>provar</a:t>
            </a:r>
            <a:r>
              <a:t> que podia </a:t>
            </a:r>
            <a:r>
              <a:rPr err="1"/>
              <a:t>trabalhar</a:t>
            </a:r>
            <a:r>
              <a:t> </a:t>
            </a:r>
            <a:r>
              <a:rPr err="1"/>
              <a:t>profissionalmente.Eu</a:t>
            </a:r>
            <a:r>
              <a:t> me </a:t>
            </a:r>
            <a:r>
              <a:rPr err="1"/>
              <a:t>redescobri.Meus</a:t>
            </a:r>
            <a:r>
              <a:t> </a:t>
            </a:r>
            <a:r>
              <a:rPr err="1"/>
              <a:t>filhos</a:t>
            </a:r>
            <a:r>
              <a:t> </a:t>
            </a:r>
            <a:r>
              <a:rPr err="1"/>
              <a:t>viram</a:t>
            </a:r>
            <a:r>
              <a:t> que, </a:t>
            </a:r>
            <a:r>
              <a:rPr err="1"/>
              <a:t>quando</a:t>
            </a:r>
            <a:r>
              <a:t> </a:t>
            </a:r>
            <a:r>
              <a:rPr err="1"/>
              <a:t>você</a:t>
            </a:r>
            <a:r>
              <a:t> </a:t>
            </a:r>
            <a:r>
              <a:rPr err="1"/>
              <a:t>coloca</a:t>
            </a:r>
            <a:r>
              <a:t> </a:t>
            </a:r>
            <a:r>
              <a:rPr err="1"/>
              <a:t>em</a:t>
            </a:r>
            <a:r>
              <a:t> </a:t>
            </a:r>
            <a:r>
              <a:rPr err="1"/>
              <a:t>sua</a:t>
            </a:r>
            <a:r>
              <a:t> </a:t>
            </a:r>
            <a:r>
              <a:rPr err="1"/>
              <a:t>mente</a:t>
            </a:r>
            <a:r>
              <a:t>, </a:t>
            </a:r>
            <a:r>
              <a:rPr err="1"/>
              <a:t>você</a:t>
            </a:r>
            <a:r>
              <a:t> </a:t>
            </a:r>
            <a:r>
              <a:rPr err="1"/>
              <a:t>pode</a:t>
            </a:r>
            <a:r>
              <a:t> </a:t>
            </a:r>
            <a:r>
              <a:rPr err="1"/>
              <a:t>fazer</a:t>
            </a:r>
            <a:r>
              <a:t> </a:t>
            </a:r>
            <a:r>
              <a:rPr err="1"/>
              <a:t>qualquer</a:t>
            </a:r>
            <a:r>
              <a:t> </a:t>
            </a:r>
            <a:r>
              <a:rPr err="1"/>
              <a:t>coisa</a:t>
            </a:r>
            <a:r>
              <a:t>."</a:t>
            </a:r>
            <a:endParaRPr lang="en-US"/>
          </a:p>
        </p:txBody>
      </p:sp>
    </p:spTree>
    <p:extLst>
      <p:ext uri="{BB962C8B-B14F-4D97-AF65-F5344CB8AC3E}">
        <p14:creationId xmlns:p14="http://schemas.microsoft.com/office/powerpoint/2010/main" val="148050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760225" y="5175300"/>
            <a:ext cx="6207125" cy="962488"/>
          </a:xfrm>
        </p:spPr>
        <p:txBody>
          <a:bodyPr vert="horz" lIns="91440" tIns="45720" rIns="91440" bIns="45720" anchor="t">
            <a:normAutofit/>
          </a:bodyPr>
          <a:lstStyle/>
          <a:p>
            <a:pPr marL="4445">
              <a:defRPr sz="2000"/>
            </a:pPr>
            <a:r>
              <a:t>EKPENYONG ETIM</a:t>
            </a:r>
          </a:p>
          <a:p>
            <a:pPr marL="4445">
              <a:defRPr i="1"/>
            </a:pPr>
            <a:r>
              <a:rPr err="1"/>
              <a:t>Nigéria</a:t>
            </a:r>
            <a:endParaRPr lang="en-US" err="1">
              <a:ea typeface="Calibri Light" panose="020F0302020204030204"/>
              <a:cs typeface="Calibri Light" panose="020F0302020204030204"/>
            </a:endParaRPr>
          </a:p>
          <a:p>
            <a:pPr marL="4445"/>
            <a:endParaRPr lang="en-US">
              <a:ea typeface="Calibri Light" panose="020F0302020204030204"/>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26</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0" name="Picture Placeholder 9" descr="A picture containing person, yellow, sitting, wall  Description automatically generated">
            <a:extLst>
              <a:ext uri="{FF2B5EF4-FFF2-40B4-BE49-F238E27FC236}">
                <a16:creationId xmlns:a16="http://schemas.microsoft.com/office/drawing/2014/main" id="{750707BF-418E-3DFA-86B4-6B15241A2016}"/>
              </a:ext>
            </a:extLst>
          </p:cNvPr>
          <p:cNvPicPr>
            <a:picLocks noGrp="1" noChangeAspect="1"/>
          </p:cNvPicPr>
          <p:nvPr>
            <p:ph type="pic" idx="1"/>
          </p:nvPr>
        </p:nvPicPr>
        <p:blipFill rotWithShape="1">
          <a:blip r:embed="rId4" cstate="screen">
            <a:extLst>
              <a:ext uri="{28A0092B-C50C-407E-A947-70E740481C1C}">
                <a14:useLocalDpi xmlns:a14="http://schemas.microsoft.com/office/drawing/2010/main"/>
              </a:ext>
            </a:extLst>
          </a:blip>
          <a:srcRect/>
          <a:stretch/>
        </p:blipFill>
        <p:spPr>
          <a:xfrm>
            <a:off x="1316392" y="962067"/>
            <a:ext cx="3524425" cy="4933866"/>
          </a:xfrm>
          <a:prstGeom prst="rect">
            <a:avLst/>
          </a:prstGeom>
        </p:spPr>
      </p:pic>
      <p:sp>
        <p:nvSpPr>
          <p:cNvPr id="6" name="TextBox 5">
            <a:extLst>
              <a:ext uri="{FF2B5EF4-FFF2-40B4-BE49-F238E27FC236}">
                <a16:creationId xmlns:a16="http://schemas.microsoft.com/office/drawing/2014/main" id="{09C67372-16C7-8323-2094-418D5E879626}"/>
              </a:ext>
            </a:extLst>
          </p:cNvPr>
          <p:cNvSpPr txBox="1"/>
          <p:nvPr/>
        </p:nvSpPr>
        <p:spPr>
          <a:xfrm>
            <a:off x="5590848" y="1745176"/>
            <a:ext cx="5741282" cy="3108543"/>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A BYU-Pathway e [meu </a:t>
            </a:r>
            <a:r>
              <a:rPr err="1"/>
              <a:t>trabalho</a:t>
            </a:r>
            <a:r>
              <a:t> </a:t>
            </a:r>
            <a:r>
              <a:rPr err="1"/>
              <a:t>remoto</a:t>
            </a:r>
            <a:r>
              <a:t>] me </a:t>
            </a:r>
            <a:r>
              <a:rPr err="1"/>
              <a:t>deram</a:t>
            </a:r>
            <a:r>
              <a:t> </a:t>
            </a:r>
            <a:r>
              <a:rPr err="1"/>
              <a:t>esperança</a:t>
            </a:r>
            <a:r>
              <a:t>. A </a:t>
            </a:r>
            <a:r>
              <a:rPr err="1"/>
              <a:t>Nigéria</a:t>
            </a:r>
            <a:r>
              <a:t> </a:t>
            </a:r>
            <a:r>
              <a:rPr err="1"/>
              <a:t>está</a:t>
            </a:r>
            <a:r>
              <a:t> </a:t>
            </a:r>
            <a:r>
              <a:rPr err="1"/>
              <a:t>passando</a:t>
            </a:r>
            <a:r>
              <a:t> pela </a:t>
            </a:r>
            <a:r>
              <a:rPr err="1"/>
              <a:t>pior</a:t>
            </a:r>
            <a:r>
              <a:t> </a:t>
            </a:r>
            <a:r>
              <a:rPr err="1"/>
              <a:t>inflação</a:t>
            </a:r>
            <a:r>
              <a:t> da </a:t>
            </a:r>
            <a:r>
              <a:rPr err="1"/>
              <a:t>minha</a:t>
            </a:r>
            <a:r>
              <a:t> </a:t>
            </a:r>
            <a:r>
              <a:rPr err="1"/>
              <a:t>vida</a:t>
            </a:r>
            <a:r>
              <a:t>. Agora </a:t>
            </a:r>
            <a:r>
              <a:rPr err="1"/>
              <a:t>ganho</a:t>
            </a:r>
            <a:r>
              <a:t> o dobro do que </a:t>
            </a:r>
            <a:r>
              <a:rPr err="1"/>
              <a:t>ganhava</a:t>
            </a:r>
            <a:r>
              <a:t> antes. Passo </a:t>
            </a:r>
            <a:r>
              <a:rPr err="1"/>
              <a:t>mais</a:t>
            </a:r>
            <a:r>
              <a:t> tempo </a:t>
            </a:r>
            <a:r>
              <a:rPr err="1"/>
              <a:t>em</a:t>
            </a:r>
            <a:r>
              <a:t> casa e </a:t>
            </a:r>
            <a:r>
              <a:rPr err="1"/>
              <a:t>isso</a:t>
            </a:r>
            <a:r>
              <a:t> </a:t>
            </a:r>
            <a:r>
              <a:rPr err="1"/>
              <a:t>fortaleceu</a:t>
            </a:r>
            <a:r>
              <a:t> </a:t>
            </a:r>
            <a:r>
              <a:rPr err="1"/>
              <a:t>minhas</a:t>
            </a:r>
            <a:r>
              <a:t> </a:t>
            </a:r>
            <a:r>
              <a:rPr err="1"/>
              <a:t>relações</a:t>
            </a:r>
            <a:r>
              <a:t> </a:t>
            </a:r>
            <a:r>
              <a:rPr err="1"/>
              <a:t>familiares</a:t>
            </a:r>
            <a:r>
              <a:t>."</a:t>
            </a:r>
            <a:endParaRPr lang="en-US">
              <a:latin typeface="Calibri Light"/>
              <a:cs typeface="Calibri" panose="020F0502020204030204"/>
            </a:endParaRPr>
          </a:p>
        </p:txBody>
      </p:sp>
    </p:spTree>
    <p:extLst>
      <p:ext uri="{BB962C8B-B14F-4D97-AF65-F5344CB8AC3E}">
        <p14:creationId xmlns:p14="http://schemas.microsoft.com/office/powerpoint/2010/main" val="274431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dirty="0" smtClean="0"/>
              <a:t>27</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16" name="Rectangle 15">
            <a:extLst>
              <a:ext uri="{FF2B5EF4-FFF2-40B4-BE49-F238E27FC236}">
                <a16:creationId xmlns:a16="http://schemas.microsoft.com/office/drawing/2014/main" id="{62544AEE-9FDC-214D-8A9F-476D5C29C398}"/>
              </a:ext>
            </a:extLst>
          </p:cNvPr>
          <p:cNvSpPr/>
          <p:nvPr/>
        </p:nvSpPr>
        <p:spPr>
          <a:xfrm>
            <a:off x="0" y="372790"/>
            <a:ext cx="4340506" cy="94705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3" name="Text Placeholder 1">
            <a:extLst>
              <a:ext uri="{FF2B5EF4-FFF2-40B4-BE49-F238E27FC236}">
                <a16:creationId xmlns:a16="http://schemas.microsoft.com/office/drawing/2014/main" id="{E1815725-512E-9048-88FA-51D8CFFF78C2}"/>
              </a:ext>
            </a:extLst>
          </p:cNvPr>
          <p:cNvSpPr txBox="1">
            <a:spLocks/>
          </p:cNvSpPr>
          <p:nvPr/>
        </p:nvSpPr>
        <p:spPr>
          <a:xfrm>
            <a:off x="633912" y="645557"/>
            <a:ext cx="7342776"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800" b="1" spc="90">
                <a:solidFill>
                  <a:schemeClr val="tx2">
                    <a:lumMod val="90000"/>
                    <a:lumOff val="10000"/>
                  </a:schemeClr>
                </a:solidFill>
              </a:defRPr>
            </a:pPr>
            <a:r>
              <a:t>DATAS &amp; PRAZOS</a:t>
            </a:r>
            <a:endParaRPr lang="en-US" sz="2400" b="1" spc="90">
              <a:solidFill>
                <a:schemeClr val="tx2">
                  <a:lumMod val="90000"/>
                  <a:lumOff val="10000"/>
                </a:schemeClr>
              </a:solidFill>
            </a:endParaRPr>
          </a:p>
        </p:txBody>
      </p:sp>
      <p:sp>
        <p:nvSpPr>
          <p:cNvPr id="11" name="Rectangle 10">
            <a:extLst>
              <a:ext uri="{FF2B5EF4-FFF2-40B4-BE49-F238E27FC236}">
                <a16:creationId xmlns:a16="http://schemas.microsoft.com/office/drawing/2014/main" id="{E0A6B640-4DBB-934E-8C59-733B3773CBFA}"/>
              </a:ext>
            </a:extLst>
          </p:cNvPr>
          <p:cNvSpPr/>
          <p:nvPr/>
        </p:nvSpPr>
        <p:spPr>
          <a:xfrm>
            <a:off x="1703564" y="1965405"/>
            <a:ext cx="3961668" cy="461665"/>
          </a:xfrm>
          <a:prstGeom prst="rect">
            <a:avLst/>
          </a:prstGeom>
        </p:spPr>
        <p:txBody>
          <a:bodyPr wrap="square">
            <a:spAutoFit/>
          </a:bodyPr>
          <a:lstStyle/>
          <a:p>
            <a:pPr>
              <a:defRPr sz="2400"/>
            </a:pPr>
            <a:r>
              <a:t>Último </a:t>
            </a:r>
            <a:r>
              <a:rPr err="1"/>
              <a:t>dia</a:t>
            </a:r>
            <a:r>
              <a:t> para se </a:t>
            </a:r>
            <a:r>
              <a:rPr err="1"/>
              <a:t>inscrever</a:t>
            </a:r>
            <a:r>
              <a:t>:</a:t>
            </a:r>
          </a:p>
        </p:txBody>
      </p:sp>
      <p:pic>
        <p:nvPicPr>
          <p:cNvPr id="7" name="Picture 6">
            <a:extLst>
              <a:ext uri="{FF2B5EF4-FFF2-40B4-BE49-F238E27FC236}">
                <a16:creationId xmlns:a16="http://schemas.microsoft.com/office/drawing/2014/main" id="{7E254706-AC2D-5842-8B5B-C55CDE74DF5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75353" y="0"/>
            <a:ext cx="5216647" cy="6858000"/>
          </a:xfrm>
          <a:prstGeom prst="rect">
            <a:avLst/>
          </a:prstGeom>
        </p:spPr>
      </p:pic>
      <p:sp>
        <p:nvSpPr>
          <p:cNvPr id="14" name="Rectangle 13">
            <a:extLst>
              <a:ext uri="{FF2B5EF4-FFF2-40B4-BE49-F238E27FC236}">
                <a16:creationId xmlns:a16="http://schemas.microsoft.com/office/drawing/2014/main" id="{A1E4B2CF-DF77-B743-9DB9-1181D7EEA911}"/>
              </a:ext>
            </a:extLst>
          </p:cNvPr>
          <p:cNvSpPr/>
          <p:nvPr/>
        </p:nvSpPr>
        <p:spPr>
          <a:xfrm>
            <a:off x="1703565" y="2427070"/>
            <a:ext cx="5462088" cy="584775"/>
          </a:xfrm>
          <a:prstGeom prst="rect">
            <a:avLst/>
          </a:prstGeom>
        </p:spPr>
        <p:txBody>
          <a:bodyPr wrap="square" lIns="91440" tIns="45720" rIns="91440" bIns="45720" anchor="t">
            <a:spAutoFit/>
          </a:bodyPr>
          <a:lstStyle/>
          <a:p>
            <a:pPr>
              <a:defRPr sz="3200" b="1">
                <a:solidFill>
                  <a:srgbClr val="3A929D"/>
                </a:solidFill>
                <a:cs typeface="Calibri"/>
              </a:defRPr>
            </a:pPr>
            <a:r>
              <a:t>22 de </a:t>
            </a:r>
            <a:r>
              <a:rPr err="1"/>
              <a:t>agosto</a:t>
            </a:r>
          </a:p>
        </p:txBody>
      </p:sp>
      <p:sp>
        <p:nvSpPr>
          <p:cNvPr id="17" name="Rectangle 16">
            <a:extLst>
              <a:ext uri="{FF2B5EF4-FFF2-40B4-BE49-F238E27FC236}">
                <a16:creationId xmlns:a16="http://schemas.microsoft.com/office/drawing/2014/main" id="{F8C23890-11F5-564B-88D0-051E87283A37}"/>
              </a:ext>
            </a:extLst>
          </p:cNvPr>
          <p:cNvSpPr/>
          <p:nvPr/>
        </p:nvSpPr>
        <p:spPr>
          <a:xfrm>
            <a:off x="1703564" y="3746703"/>
            <a:ext cx="3308526" cy="461665"/>
          </a:xfrm>
          <a:prstGeom prst="rect">
            <a:avLst/>
          </a:prstGeom>
        </p:spPr>
        <p:txBody>
          <a:bodyPr wrap="square">
            <a:spAutoFit/>
          </a:bodyPr>
          <a:lstStyle/>
          <a:p>
            <a:pPr>
              <a:defRPr sz="2400"/>
            </a:pPr>
            <a:r>
              <a:t>Primeiro </a:t>
            </a:r>
            <a:r>
              <a:rPr err="1"/>
              <a:t>dia</a:t>
            </a:r>
            <a:r>
              <a:t> de aulas:</a:t>
            </a:r>
          </a:p>
        </p:txBody>
      </p:sp>
      <p:sp>
        <p:nvSpPr>
          <p:cNvPr id="18" name="Rectangle 17">
            <a:extLst>
              <a:ext uri="{FF2B5EF4-FFF2-40B4-BE49-F238E27FC236}">
                <a16:creationId xmlns:a16="http://schemas.microsoft.com/office/drawing/2014/main" id="{7CC0D360-1E86-F44D-8621-2BA1C1618D67}"/>
              </a:ext>
            </a:extLst>
          </p:cNvPr>
          <p:cNvSpPr/>
          <p:nvPr/>
        </p:nvSpPr>
        <p:spPr>
          <a:xfrm>
            <a:off x="1703565" y="4208368"/>
            <a:ext cx="5462088" cy="584775"/>
          </a:xfrm>
          <a:prstGeom prst="rect">
            <a:avLst/>
          </a:prstGeom>
        </p:spPr>
        <p:txBody>
          <a:bodyPr wrap="square" lIns="91440" tIns="45720" rIns="91440" bIns="45720" anchor="t">
            <a:spAutoFit/>
          </a:bodyPr>
          <a:lstStyle/>
          <a:p>
            <a:pPr>
              <a:defRPr sz="3200" b="1">
                <a:solidFill>
                  <a:srgbClr val="3A929D"/>
                </a:solidFill>
                <a:latin typeface="Calibri"/>
                <a:cs typeface="Calibri"/>
              </a:defRPr>
            </a:pPr>
            <a:r>
              <a:t>11 de </a:t>
            </a:r>
            <a:r>
              <a:rPr err="1"/>
              <a:t>setembro</a:t>
            </a:r>
            <a:endParaRPr lang="en-US" sz="3200" err="1"/>
          </a:p>
        </p:txBody>
      </p:sp>
      <p:pic>
        <p:nvPicPr>
          <p:cNvPr id="3" name="Graphic 2">
            <a:extLst>
              <a:ext uri="{FF2B5EF4-FFF2-40B4-BE49-F238E27FC236}">
                <a16:creationId xmlns:a16="http://schemas.microsoft.com/office/drawing/2014/main" id="{00BE3916-5C63-E547-B89C-E98650B57F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911" y="2040532"/>
            <a:ext cx="842467" cy="842467"/>
          </a:xfrm>
          <a:prstGeom prst="rect">
            <a:avLst/>
          </a:prstGeom>
        </p:spPr>
      </p:pic>
      <p:pic>
        <p:nvPicPr>
          <p:cNvPr id="6" name="Graphic 5">
            <a:extLst>
              <a:ext uri="{FF2B5EF4-FFF2-40B4-BE49-F238E27FC236}">
                <a16:creationId xmlns:a16="http://schemas.microsoft.com/office/drawing/2014/main" id="{D4F24F43-F35B-784B-AEB5-1A12AEAD53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8182" y="3822602"/>
            <a:ext cx="993924" cy="993924"/>
          </a:xfrm>
          <a:prstGeom prst="rect">
            <a:avLst/>
          </a:prstGeom>
        </p:spPr>
      </p:pic>
    </p:spTree>
    <p:extLst>
      <p:ext uri="{BB962C8B-B14F-4D97-AF65-F5344CB8AC3E}">
        <p14:creationId xmlns:p14="http://schemas.microsoft.com/office/powerpoint/2010/main" val="319391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wearing a suit and tie  Description automatically generated">
            <a:extLst>
              <a:ext uri="{FF2B5EF4-FFF2-40B4-BE49-F238E27FC236}">
                <a16:creationId xmlns:a16="http://schemas.microsoft.com/office/drawing/2014/main" id="{04CA73B0-D905-7B41-B8F3-EBCC862C0B02}"/>
              </a:ext>
            </a:extLst>
          </p:cNvPr>
          <p:cNvPicPr>
            <a:picLocks noGrp="1" noChangeAspect="1"/>
          </p:cNvPicPr>
          <p:nvPr>
            <p:ph type="pic" idx="1"/>
          </p:nvPr>
        </p:nvPicPr>
        <p:blipFill>
          <a:blip r:embed="rId3" cstate="email">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272166" y="4462740"/>
            <a:ext cx="6207125" cy="962488"/>
          </a:xfrm>
        </p:spPr>
        <p:txBody>
          <a:bodyPr vert="horz" lIns="91440" tIns="45720" rIns="91440" bIns="45720" anchor="t">
            <a:normAutofit/>
          </a:bodyPr>
          <a:lstStyle/>
          <a:p>
            <a:pPr marL="4445">
              <a:defRPr sz="2000"/>
            </a:pPr>
            <a:r>
              <a:t>PRESIDENTE RUSSELL M. NELSON</a:t>
            </a:r>
          </a:p>
          <a:p>
            <a:pPr marL="4445">
              <a:defRPr i="1">
                <a:ea typeface="+mj-lt"/>
                <a:cs typeface="+mj-lt"/>
              </a:defRPr>
            </a:pPr>
            <a:r>
              <a:t>"</a:t>
            </a:r>
            <a:r>
              <a:rPr err="1"/>
              <a:t>Educação</a:t>
            </a:r>
            <a:r>
              <a:t>: Uma </a:t>
            </a:r>
            <a:r>
              <a:rPr err="1"/>
              <a:t>Responsabilidade</a:t>
            </a:r>
            <a:r>
              <a:t> Religiosa", (BYU-Idaho </a:t>
            </a:r>
            <a:br>
              <a:rPr lang="en-US" i="1">
                <a:ea typeface="+mj-lt"/>
                <a:cs typeface="+mj-lt"/>
              </a:rPr>
            </a:br>
            <a:r>
              <a:t>Devotional, 26 de </a:t>
            </a:r>
            <a:r>
              <a:rPr err="1"/>
              <a:t>janeiro</a:t>
            </a:r>
            <a:r>
              <a:t> de 2010), byui.edu/speeches</a:t>
            </a:r>
            <a:endParaRPr lang="en-US" i="1">
              <a:cs typeface="Calibri Light"/>
            </a:endParaRPr>
          </a:p>
          <a:p>
            <a:pPr marL="4445"/>
            <a:endParaRPr lang="en-US">
              <a:cs typeface="Calibri Light"/>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dirty="0" smtClean="0"/>
              <a:t>28</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6" name="TextBox 5">
            <a:extLst>
              <a:ext uri="{FF2B5EF4-FFF2-40B4-BE49-F238E27FC236}">
                <a16:creationId xmlns:a16="http://schemas.microsoft.com/office/drawing/2014/main" id="{13E8FC40-0B31-F231-63AD-89B6AE3C938A}"/>
              </a:ext>
            </a:extLst>
          </p:cNvPr>
          <p:cNvSpPr txBox="1"/>
          <p:nvPr/>
        </p:nvSpPr>
        <p:spPr>
          <a:xfrm>
            <a:off x="5111965" y="2041076"/>
            <a:ext cx="5363185" cy="1815882"/>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a:t>
            </a:r>
            <a:r>
              <a:rPr err="1"/>
              <a:t>Ganhe</a:t>
            </a:r>
            <a:r>
              <a:t> </a:t>
            </a:r>
            <a:r>
              <a:rPr err="1"/>
              <a:t>toda</a:t>
            </a:r>
            <a:r>
              <a:t> a </a:t>
            </a:r>
            <a:r>
              <a:rPr err="1"/>
              <a:t>educação</a:t>
            </a:r>
            <a:r>
              <a:t> que </a:t>
            </a:r>
            <a:r>
              <a:rPr err="1"/>
              <a:t>puder</a:t>
            </a:r>
            <a:r>
              <a:t>. Para </a:t>
            </a:r>
            <a:r>
              <a:rPr err="1"/>
              <a:t>nós</a:t>
            </a:r>
            <a:r>
              <a:t>, </a:t>
            </a:r>
            <a:r>
              <a:rPr err="1"/>
              <a:t>como</a:t>
            </a:r>
            <a:r>
              <a:t> santos dos </a:t>
            </a:r>
            <a:r>
              <a:rPr err="1"/>
              <a:t>últimos</a:t>
            </a:r>
            <a:r>
              <a:t> </a:t>
            </a:r>
            <a:r>
              <a:rPr err="1"/>
              <a:t>dias</a:t>
            </a:r>
            <a:r>
              <a:t>, </a:t>
            </a:r>
            <a:r>
              <a:rPr err="1"/>
              <a:t>ganhar</a:t>
            </a:r>
            <a:r>
              <a:t> </a:t>
            </a:r>
            <a:r>
              <a:rPr err="1"/>
              <a:t>uma</a:t>
            </a:r>
            <a:r>
              <a:t> </a:t>
            </a:r>
            <a:r>
              <a:rPr err="1"/>
              <a:t>educação</a:t>
            </a:r>
            <a:r>
              <a:t> </a:t>
            </a:r>
            <a:r>
              <a:rPr err="1"/>
              <a:t>não</a:t>
            </a:r>
            <a:r>
              <a:t> é </a:t>
            </a:r>
            <a:r>
              <a:rPr err="1"/>
              <a:t>apenas</a:t>
            </a:r>
            <a:r>
              <a:t> um </a:t>
            </a:r>
            <a:r>
              <a:rPr err="1"/>
              <a:t>privilégio</a:t>
            </a:r>
            <a:r>
              <a:t>, é </a:t>
            </a:r>
            <a:r>
              <a:rPr err="1"/>
              <a:t>uma</a:t>
            </a:r>
            <a:r>
              <a:t> </a:t>
            </a:r>
            <a:r>
              <a:rPr err="1"/>
              <a:t>responsabilidade</a:t>
            </a:r>
            <a:r>
              <a:t> religiosa."</a:t>
            </a:r>
            <a:endParaRPr lang="en-US">
              <a:latin typeface="Calibri Light"/>
            </a:endParaRPr>
          </a:p>
        </p:txBody>
      </p:sp>
      <p:pic>
        <p:nvPicPr>
          <p:cNvPr id="3" name="Picture Placeholder 6" descr="A person in a suit and tie  Description automatically generated">
            <a:extLst>
              <a:ext uri="{FF2B5EF4-FFF2-40B4-BE49-F238E27FC236}">
                <a16:creationId xmlns:a16="http://schemas.microsoft.com/office/drawing/2014/main" id="{37F7F11C-DF47-5D8F-B863-0DB9B3377F44}"/>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949407" y="963936"/>
            <a:ext cx="3534234" cy="4930128"/>
          </a:xfrm>
          <a:prstGeom prst="rect">
            <a:avLst/>
          </a:prstGeom>
        </p:spPr>
      </p:pic>
    </p:spTree>
    <p:extLst>
      <p:ext uri="{BB962C8B-B14F-4D97-AF65-F5344CB8AC3E}">
        <p14:creationId xmlns:p14="http://schemas.microsoft.com/office/powerpoint/2010/main" val="132533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in the air  Description automatically generated with low confidence">
            <a:extLst>
              <a:ext uri="{FF2B5EF4-FFF2-40B4-BE49-F238E27FC236}">
                <a16:creationId xmlns:a16="http://schemas.microsoft.com/office/drawing/2014/main" id="{0C24D7C2-3DDE-38EC-8DA6-B2742EF299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37200" cy="6858000"/>
          </a:xfrm>
          <a:prstGeom prst="rect">
            <a:avLst/>
          </a:prstGeom>
        </p:spPr>
      </p:pic>
      <p:sp>
        <p:nvSpPr>
          <p:cNvPr id="7" name="Rectangle 6">
            <a:extLst>
              <a:ext uri="{FF2B5EF4-FFF2-40B4-BE49-F238E27FC236}">
                <a16:creationId xmlns:a16="http://schemas.microsoft.com/office/drawing/2014/main" id="{68132E28-F006-C04A-B3E1-A5C743809351}"/>
              </a:ext>
            </a:extLst>
          </p:cNvPr>
          <p:cNvSpPr/>
          <p:nvPr/>
        </p:nvSpPr>
        <p:spPr>
          <a:xfrm>
            <a:off x="7031157" y="4045309"/>
            <a:ext cx="4013185" cy="1808345"/>
          </a:xfrm>
          <a:prstGeom prst="rect">
            <a:avLst/>
          </a:prstGeom>
          <a:solidFill>
            <a:schemeClr val="bg1"/>
          </a:solidFill>
          <a:ln>
            <a:noFill/>
          </a:ln>
          <a:effectLst>
            <a:outerShdw blurRad="267781" dist="113238"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 name="Text Placeholder 1">
            <a:extLst>
              <a:ext uri="{FF2B5EF4-FFF2-40B4-BE49-F238E27FC236}">
                <a16:creationId xmlns:a16="http://schemas.microsoft.com/office/drawing/2014/main" id="{7A1C276B-2A33-C049-AEF8-5AF88AD11664}"/>
              </a:ext>
            </a:extLst>
          </p:cNvPr>
          <p:cNvSpPr txBox="1">
            <a:spLocks/>
          </p:cNvSpPr>
          <p:nvPr/>
        </p:nvSpPr>
        <p:spPr>
          <a:xfrm>
            <a:off x="5776936" y="1021167"/>
            <a:ext cx="4801941" cy="616404"/>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rPr err="1"/>
              <a:t>Ganhe</a:t>
            </a:r>
            <a:r>
              <a:rPr dirty="0"/>
              <a:t> um Diploma </a:t>
            </a:r>
            <a:r>
              <a:rPr i="1" dirty="0"/>
              <a:t>e </a:t>
            </a:r>
            <a:r>
              <a:rPr err="1"/>
              <a:t>Construa</a:t>
            </a:r>
            <a:r>
              <a:rPr dirty="0"/>
              <a:t> a Fé</a:t>
            </a:r>
          </a:p>
        </p:txBody>
      </p:sp>
      <p:sp>
        <p:nvSpPr>
          <p:cNvPr id="3" name="Rectangle 2">
            <a:extLst>
              <a:ext uri="{FF2B5EF4-FFF2-40B4-BE49-F238E27FC236}">
                <a16:creationId xmlns:a16="http://schemas.microsoft.com/office/drawing/2014/main" id="{2198D0CB-A244-3645-93EF-5E47B40A5F95}"/>
              </a:ext>
            </a:extLst>
          </p:cNvPr>
          <p:cNvSpPr/>
          <p:nvPr/>
        </p:nvSpPr>
        <p:spPr>
          <a:xfrm>
            <a:off x="5817277" y="2421648"/>
            <a:ext cx="5685604" cy="818494"/>
          </a:xfrm>
          <a:prstGeom prst="rect">
            <a:avLst/>
          </a:prstGeom>
        </p:spPr>
        <p:txBody>
          <a:bodyPr wrap="square" lIns="91440" tIns="45720" rIns="91440" bIns="45720" anchor="t">
            <a:spAutoFit/>
          </a:bodyPr>
          <a:lstStyle/>
          <a:p>
            <a:pPr>
              <a:lnSpc>
                <a:spcPct val="110000"/>
              </a:lnSpc>
              <a:defRPr sz="2200"/>
            </a:pPr>
            <a:r>
              <a:t>Os cursos incorporam ensinamentos das escrituras e dos profetas e apóstolos modernos.</a:t>
            </a:r>
          </a:p>
        </p:txBody>
      </p:sp>
      <p:graphicFrame>
        <p:nvGraphicFramePr>
          <p:cNvPr id="4" name="Chart 3">
            <a:extLst>
              <a:ext uri="{FF2B5EF4-FFF2-40B4-BE49-F238E27FC236}">
                <a16:creationId xmlns:a16="http://schemas.microsoft.com/office/drawing/2014/main" id="{E37CED92-DBCC-1640-8DAC-D345BD6E21EC}"/>
              </a:ext>
            </a:extLst>
          </p:cNvPr>
          <p:cNvGraphicFramePr/>
          <p:nvPr/>
        </p:nvGraphicFramePr>
        <p:xfrm>
          <a:off x="3637519" y="3398138"/>
          <a:ext cx="4803515" cy="3202344"/>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BD44D150-ABF4-D14A-BE79-37F452EC4044}"/>
              </a:ext>
            </a:extLst>
          </p:cNvPr>
          <p:cNvSpPr/>
          <p:nvPr/>
        </p:nvSpPr>
        <p:spPr>
          <a:xfrm>
            <a:off x="7632081" y="4242569"/>
            <a:ext cx="3238086" cy="1323439"/>
          </a:xfrm>
          <a:prstGeom prst="rect">
            <a:avLst/>
          </a:prstGeom>
        </p:spPr>
        <p:txBody>
          <a:bodyPr wrap="square" lIns="91440" tIns="45720" rIns="91440" bIns="45720" anchor="t">
            <a:spAutoFit/>
          </a:bodyPr>
          <a:lstStyle/>
          <a:p>
            <a:pPr>
              <a:defRPr sz="2000">
                <a:solidFill>
                  <a:schemeClr val="tx2">
                    <a:lumMod val="90000"/>
                    <a:lumOff val="10000"/>
                  </a:schemeClr>
                </a:solidFill>
              </a:defRPr>
            </a:pPr>
            <a:r>
              <a:rPr dirty="0"/>
              <a:t>dos </a:t>
            </a:r>
            <a:r>
              <a:rPr dirty="0" err="1"/>
              <a:t>alunos</a:t>
            </a:r>
            <a:r>
              <a:rPr dirty="0"/>
              <a:t> </a:t>
            </a:r>
            <a:r>
              <a:rPr dirty="0" err="1"/>
              <a:t>dizem</a:t>
            </a:r>
            <a:r>
              <a:rPr dirty="0"/>
              <a:t> que </a:t>
            </a:r>
            <a:r>
              <a:rPr dirty="0" err="1"/>
              <a:t>sua</a:t>
            </a:r>
            <a:r>
              <a:rPr dirty="0"/>
              <a:t> </a:t>
            </a:r>
            <a:r>
              <a:rPr dirty="0" err="1"/>
              <a:t>participação</a:t>
            </a:r>
            <a:r>
              <a:rPr dirty="0"/>
              <a:t> </a:t>
            </a:r>
            <a:r>
              <a:rPr lang="en-US" dirty="0" err="1"/>
              <a:t>na</a:t>
            </a:r>
            <a:r>
              <a:rPr dirty="0"/>
              <a:t> BYU-Pathway </a:t>
            </a:r>
            <a:r>
              <a:rPr dirty="0" err="1"/>
              <a:t>aumentou</a:t>
            </a:r>
            <a:r>
              <a:rPr dirty="0"/>
              <a:t> </a:t>
            </a:r>
            <a:r>
              <a:rPr dirty="0" err="1"/>
              <a:t>sua</a:t>
            </a:r>
            <a:r>
              <a:rPr dirty="0"/>
              <a:t> </a:t>
            </a:r>
            <a:r>
              <a:rPr dirty="0" err="1"/>
              <a:t>fé</a:t>
            </a:r>
            <a:r>
              <a:rPr dirty="0"/>
              <a:t> e </a:t>
            </a:r>
            <a:r>
              <a:rPr dirty="0" err="1"/>
              <a:t>seu</a:t>
            </a:r>
            <a:r>
              <a:rPr dirty="0"/>
              <a:t> </a:t>
            </a:r>
            <a:r>
              <a:rPr dirty="0" err="1"/>
              <a:t>testemunho</a:t>
            </a:r>
            <a:r>
              <a:rPr dirty="0"/>
              <a:t> do Salvador.</a:t>
            </a:r>
          </a:p>
        </p:txBody>
      </p:sp>
      <p:sp>
        <p:nvSpPr>
          <p:cNvPr id="10" name="TextBox 9">
            <a:extLst>
              <a:ext uri="{FF2B5EF4-FFF2-40B4-BE49-F238E27FC236}">
                <a16:creationId xmlns:a16="http://schemas.microsoft.com/office/drawing/2014/main" id="{1C74E7AF-188C-AF4F-968A-A0D4F902100F}"/>
              </a:ext>
            </a:extLst>
          </p:cNvPr>
          <p:cNvSpPr txBox="1"/>
          <p:nvPr/>
        </p:nvSpPr>
        <p:spPr>
          <a:xfrm>
            <a:off x="5458387" y="4484931"/>
            <a:ext cx="1337226" cy="1015663"/>
          </a:xfrm>
          <a:prstGeom prst="rect">
            <a:avLst/>
          </a:prstGeom>
          <a:noFill/>
        </p:spPr>
        <p:txBody>
          <a:bodyPr wrap="none">
            <a:spAutoFit/>
          </a:bodyPr>
          <a:lstStyle/>
          <a:p>
            <a:pPr>
              <a:defRPr sz="6000" b="1">
                <a:solidFill>
                  <a:schemeClr val="tx2"/>
                </a:solidFill>
              </a:defRPr>
            </a:pPr>
            <a:r>
              <a:t>91</a:t>
            </a:r>
            <a:r>
              <a:rPr baseline="30000"/>
              <a:t>%</a:t>
            </a:r>
          </a:p>
        </p:txBody>
      </p:sp>
      <p:sp>
        <p:nvSpPr>
          <p:cNvPr id="13" name="Slide Number Placeholder 3">
            <a:extLst>
              <a:ext uri="{FF2B5EF4-FFF2-40B4-BE49-F238E27FC236}">
                <a16:creationId xmlns:a16="http://schemas.microsoft.com/office/drawing/2014/main" id="{F8E096EE-E63F-BE4A-B6D5-A6E2C2504AF8}"/>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2</a:t>
            </a:fld>
            <a:endParaRPr lang="en-US"/>
          </a:p>
        </p:txBody>
      </p:sp>
      <p:sp>
        <p:nvSpPr>
          <p:cNvPr id="9" name="Rectangle 8">
            <a:extLst>
              <a:ext uri="{FF2B5EF4-FFF2-40B4-BE49-F238E27FC236}">
                <a16:creationId xmlns:a16="http://schemas.microsoft.com/office/drawing/2014/main" id="{26D66543-65E8-8415-9DC1-D9C573BBB2BC}"/>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Text  Description automatically generated">
            <a:extLst>
              <a:ext uri="{FF2B5EF4-FFF2-40B4-BE49-F238E27FC236}">
                <a16:creationId xmlns:a16="http://schemas.microsoft.com/office/drawing/2014/main" id="{21E8DC26-5179-2706-5334-776F7116AB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66576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930817-215B-7666-798F-4C742D3F2B62}"/>
              </a:ext>
            </a:extLst>
          </p:cNvPr>
          <p:cNvSpPr/>
          <p:nvPr/>
        </p:nvSpPr>
        <p:spPr>
          <a:xfrm>
            <a:off x="-270165" y="-166255"/>
            <a:ext cx="12732327" cy="71905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5" name="TextBox 4">
            <a:extLst>
              <a:ext uri="{FF2B5EF4-FFF2-40B4-BE49-F238E27FC236}">
                <a16:creationId xmlns:a16="http://schemas.microsoft.com/office/drawing/2014/main" id="{EB47A480-43D0-6FE7-DBC1-83ADF87B0CF0}"/>
              </a:ext>
            </a:extLst>
          </p:cNvPr>
          <p:cNvSpPr txBox="1"/>
          <p:nvPr/>
        </p:nvSpPr>
        <p:spPr>
          <a:xfrm>
            <a:off x="3983990" y="5130800"/>
            <a:ext cx="4224020" cy="769441"/>
          </a:xfrm>
          <a:prstGeom prst="rect">
            <a:avLst/>
          </a:prstGeom>
          <a:noFill/>
        </p:spPr>
        <p:txBody>
          <a:bodyPr wrap="square">
            <a:spAutoFit/>
          </a:bodyPr>
          <a:lstStyle/>
          <a:p>
            <a:pPr algn="ctr">
              <a:defRPr sz="4400" b="1" i="1" spc="50">
                <a:solidFill>
                  <a:srgbClr val="45453F"/>
                </a:solidFill>
                <a:latin typeface="+mj-lt"/>
              </a:defRPr>
            </a:pPr>
            <a:r>
              <a:t>byupathway.org</a:t>
            </a:r>
            <a:endParaRPr lang="en-US" sz="4400" b="1" i="1" spc="50">
              <a:solidFill>
                <a:srgbClr val="45453F"/>
              </a:solidFill>
              <a:latin typeface="+mj-lt"/>
            </a:endParaRPr>
          </a:p>
        </p:txBody>
      </p:sp>
      <p:pic>
        <p:nvPicPr>
          <p:cNvPr id="9" name="Picture 8" descr="Text  Description automatically generated">
            <a:extLst>
              <a:ext uri="{FF2B5EF4-FFF2-40B4-BE49-F238E27FC236}">
                <a16:creationId xmlns:a16="http://schemas.microsoft.com/office/drawing/2014/main" id="{D123098F-1B08-4244-C5A8-F915E82360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4862" y="2131813"/>
            <a:ext cx="3182273" cy="1991957"/>
          </a:xfrm>
          <a:prstGeom prst="rect">
            <a:avLst/>
          </a:prstGeom>
        </p:spPr>
      </p:pic>
    </p:spTree>
    <p:extLst>
      <p:ext uri="{BB962C8B-B14F-4D97-AF65-F5344CB8AC3E}">
        <p14:creationId xmlns:p14="http://schemas.microsoft.com/office/powerpoint/2010/main" val="46403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hat is BYU-Pathway.mp4" descr="What is BYU-Pathway.mp4">
            <a:hlinkClick r:id="" action="ppaction://media"/>
            <a:extLst>
              <a:ext uri="{FF2B5EF4-FFF2-40B4-BE49-F238E27FC236}">
                <a16:creationId xmlns:a16="http://schemas.microsoft.com/office/drawing/2014/main" id="{A32AAF62-A302-D34D-A999-9A7ABF22F7F2}"/>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0" y="0"/>
            <a:ext cx="12192000" cy="6858000"/>
          </a:xfrm>
          <a:prstGeom prst="rect">
            <a:avLst/>
          </a:prstGeom>
        </p:spPr>
      </p:pic>
      <p:sp>
        <p:nvSpPr>
          <p:cNvPr id="5" name="Triangle 4">
            <a:extLst>
              <a:ext uri="{FF2B5EF4-FFF2-40B4-BE49-F238E27FC236}">
                <a16:creationId xmlns:a16="http://schemas.microsoft.com/office/drawing/2014/main" id="{270E3A0C-3B09-9F46-BFF6-5784E194DBBB}"/>
              </a:ext>
            </a:extLst>
          </p:cNvPr>
          <p:cNvSpPr/>
          <p:nvPr/>
        </p:nvSpPr>
        <p:spPr>
          <a:xfrm rot="5400000">
            <a:off x="5632450" y="2823936"/>
            <a:ext cx="927100" cy="8509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Rectangle 5">
            <a:extLst>
              <a:ext uri="{FF2B5EF4-FFF2-40B4-BE49-F238E27FC236}">
                <a16:creationId xmlns:a16="http://schemas.microsoft.com/office/drawing/2014/main" id="{38CDA766-A8E2-574E-A2B3-C6AF89A2092F}"/>
              </a:ext>
            </a:extLst>
          </p:cNvPr>
          <p:cNvSpPr/>
          <p:nvPr/>
        </p:nvSpPr>
        <p:spPr>
          <a:xfrm>
            <a:off x="0" y="615677"/>
            <a:ext cx="5347063" cy="94705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Text Placeholder 2">
            <a:extLst>
              <a:ext uri="{FF2B5EF4-FFF2-40B4-BE49-F238E27FC236}">
                <a16:creationId xmlns:a16="http://schemas.microsoft.com/office/drawing/2014/main" id="{298BE645-7BD3-584B-967F-C6BFDCFFF150}"/>
              </a:ext>
            </a:extLst>
          </p:cNvPr>
          <p:cNvSpPr txBox="1">
            <a:spLocks/>
          </p:cNvSpPr>
          <p:nvPr/>
        </p:nvSpPr>
        <p:spPr>
          <a:xfrm>
            <a:off x="559749" y="912336"/>
            <a:ext cx="4442557" cy="455612"/>
          </a:xfrm>
          <a:prstGeom prst="rect">
            <a:avLst/>
          </a:prstGeom>
        </p:spPr>
        <p:txBody>
          <a:bodyPr vert="horz" lIns="91440" tIns="45720" rIns="91440" bIns="45720">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2800" b="1" spc="90">
                <a:solidFill>
                  <a:schemeClr val="bg1"/>
                </a:solidFill>
              </a:defRPr>
            </a:pPr>
            <a:r>
              <a:t>O QUE É A BYU-PATHWAY?</a:t>
            </a:r>
          </a:p>
        </p:txBody>
      </p:sp>
    </p:spTree>
    <p:extLst>
      <p:ext uri="{BB962C8B-B14F-4D97-AF65-F5344CB8AC3E}">
        <p14:creationId xmlns:p14="http://schemas.microsoft.com/office/powerpoint/2010/main" val="392624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6172" fill="hold"/>
                                        <p:tgtEl>
                                          <p:spTgt spid="2"/>
                                        </p:tgtEl>
                                      </p:cBhvr>
                                    </p:cmd>
                                  </p:childTnLst>
                                </p:cTn>
                              </p:par>
                              <p:par>
                                <p:cTn id="7" presetID="10" presetClass="exit" presetSubtype="0" fill="hold" grpId="0" nodeType="withEffect">
                                  <p:stCondLst>
                                    <p:cond delay="0"/>
                                  </p:stCondLst>
                                  <p:childTnLst>
                                    <p:animEffect transition="out" filter="fade">
                                      <p:cBhvr>
                                        <p:cTn id="8" dur="500"/>
                                        <p:tgtEl>
                                          <p:spTgt spid="5"/>
                                        </p:tgtEl>
                                      </p:cBhvr>
                                    </p:animEffect>
                                    <p:set>
                                      <p:cBhvr>
                                        <p:cTn id="9" dur="1" fill="hold">
                                          <p:stCondLst>
                                            <p:cond delay="499"/>
                                          </p:stCondLst>
                                        </p:cTn>
                                        <p:tgtEl>
                                          <p:spTgt spid="5"/>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6" fill="hold" display="0">
                  <p:stCondLst>
                    <p:cond delay="indefinite"/>
                  </p:stCondLst>
                </p:cTn>
                <p:tgtEl>
                  <p:spTgt spid="2"/>
                </p:tgtEl>
              </p:cMediaNode>
            </p:video>
          </p:childTnLst>
        </p:cTn>
      </p:par>
    </p:tnLst>
    <p:bldLst>
      <p:bldP spid="5" grpId="0" animBg="1"/>
      <p:bldP spid="6" grpId="0" animBg="1"/>
      <p:bldP spid="7" grpId="0"/>
    </p:bldLst>
  </p:timing>
  <p:extLst>
    <p:ext uri="{6950BFC3-D8DA-4A85-94F7-54DA5524770B}">
      <p188:commentRel xmlns:p188="http://schemas.microsoft.com/office/powerpoint/2018/8/main" r:id="rId5"/>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E89279B5-7865-D045-93E1-B805478CAF9D}"/>
              </a:ext>
            </a:extLst>
          </p:cNvPr>
          <p:cNvSpPr/>
          <p:nvPr/>
        </p:nvSpPr>
        <p:spPr>
          <a:xfrm>
            <a:off x="8952" y="3490783"/>
            <a:ext cx="12192000" cy="33672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3" name="Content Placeholder 2">
            <a:extLst>
              <a:ext uri="{FF2B5EF4-FFF2-40B4-BE49-F238E27FC236}">
                <a16:creationId xmlns:a16="http://schemas.microsoft.com/office/drawing/2014/main" id="{CFBE50DD-0699-3A41-8108-252B9BA13CE9}"/>
              </a:ext>
            </a:extLst>
          </p:cNvPr>
          <p:cNvSpPr>
            <a:spLocks noGrp="1"/>
          </p:cNvSpPr>
          <p:nvPr>
            <p:ph sz="quarter" idx="4294967295"/>
          </p:nvPr>
        </p:nvSpPr>
        <p:spPr>
          <a:xfrm>
            <a:off x="640080" y="955387"/>
            <a:ext cx="9028113" cy="757238"/>
          </a:xfrm>
        </p:spPr>
        <p:txBody>
          <a:bodyPr>
            <a:normAutofit/>
          </a:bodyPr>
          <a:lstStyle/>
          <a:p>
            <a:pPr marL="0" indent="0">
              <a:lnSpc>
                <a:spcPct val="100000"/>
              </a:lnSpc>
              <a:buNone/>
              <a:defRPr sz="2000"/>
            </a:pPr>
            <a:r>
              <a:t>A BYU-Pathway Worldwide </a:t>
            </a:r>
            <a:r>
              <a:rPr err="1"/>
              <a:t>foi</a:t>
            </a:r>
            <a:r>
              <a:t> </a:t>
            </a:r>
            <a:r>
              <a:rPr err="1"/>
              <a:t>fundada</a:t>
            </a:r>
            <a:r>
              <a:t> e é </a:t>
            </a:r>
            <a:r>
              <a:rPr err="1"/>
              <a:t>apoiada</a:t>
            </a:r>
            <a:r>
              <a:t> e </a:t>
            </a:r>
            <a:r>
              <a:rPr err="1"/>
              <a:t>guiada</a:t>
            </a:r>
            <a:r>
              <a:t> pela </a:t>
            </a:r>
            <a:r>
              <a:rPr err="1"/>
              <a:t>Igreja</a:t>
            </a:r>
            <a:r>
              <a:t> de Jesus Cristo dos Santos dos </a:t>
            </a:r>
            <a:r>
              <a:rPr err="1"/>
              <a:t>Últimos</a:t>
            </a:r>
            <a:r>
              <a:t> Dias.</a:t>
            </a:r>
          </a:p>
          <a:p>
            <a:pPr marL="0" lvl="0" indent="0">
              <a:buNone/>
            </a:pPr>
            <a:endParaRPr lang="en-US" sz="2000"/>
          </a:p>
        </p:txBody>
      </p:sp>
      <p:sp>
        <p:nvSpPr>
          <p:cNvPr id="4" name="Slide Number Placeholder 3">
            <a:extLst>
              <a:ext uri="{FF2B5EF4-FFF2-40B4-BE49-F238E27FC236}">
                <a16:creationId xmlns:a16="http://schemas.microsoft.com/office/drawing/2014/main" id="{4B5950C2-CF2E-EA4E-8AA7-77CD0DE0D03F}"/>
              </a:ext>
            </a:extLst>
          </p:cNvPr>
          <p:cNvSpPr>
            <a:spLocks noGrp="1"/>
          </p:cNvSpPr>
          <p:nvPr>
            <p:ph type="sldNum" sz="quarter" idx="4294967295"/>
          </p:nvPr>
        </p:nvSpPr>
        <p:spPr>
          <a:xfrm>
            <a:off x="8796528" y="6356350"/>
            <a:ext cx="2743200" cy="365125"/>
          </a:xfrm>
        </p:spPr>
        <p:txBody>
          <a:bodyPr/>
          <a:lstStyle/>
          <a:p>
            <a:fld id="{8893C2FB-EF86-FD49-89EB-659751C15892}" type="slidenum">
              <a:rPr lang="en-US" dirty="0" smtClean="0"/>
              <a:t>31</a:t>
            </a:fld>
            <a:endParaRPr lang="en-US"/>
          </a:p>
        </p:txBody>
      </p:sp>
      <p:sp>
        <p:nvSpPr>
          <p:cNvPr id="6" name="TextBox 5">
            <a:extLst>
              <a:ext uri="{FF2B5EF4-FFF2-40B4-BE49-F238E27FC236}">
                <a16:creationId xmlns:a16="http://schemas.microsoft.com/office/drawing/2014/main" id="{64F58FE6-2E56-F44F-B50A-3F34112A58D4}"/>
              </a:ext>
            </a:extLst>
          </p:cNvPr>
          <p:cNvSpPr txBox="1"/>
          <p:nvPr/>
        </p:nvSpPr>
        <p:spPr>
          <a:xfrm>
            <a:off x="11327130" y="640080"/>
            <a:ext cx="184731" cy="369332"/>
          </a:xfrm>
          <a:prstGeom prst="rect">
            <a:avLst/>
          </a:prstGeom>
          <a:noFill/>
        </p:spPr>
        <p:txBody>
          <a:bodyPr wrap="none">
            <a:spAutoFit/>
          </a:bodyPr>
          <a:lstStyle/>
          <a:p>
            <a:endParaRPr lang="en-US"/>
          </a:p>
        </p:txBody>
      </p:sp>
      <p:sp>
        <p:nvSpPr>
          <p:cNvPr id="7" name="Content Placeholder 2">
            <a:extLst>
              <a:ext uri="{FF2B5EF4-FFF2-40B4-BE49-F238E27FC236}">
                <a16:creationId xmlns:a16="http://schemas.microsoft.com/office/drawing/2014/main" id="{2CD8C5D8-D759-764A-8FA6-7D35B2389EB1}"/>
              </a:ext>
            </a:extLst>
          </p:cNvPr>
          <p:cNvSpPr txBox="1">
            <a:spLocks/>
          </p:cNvSpPr>
          <p:nvPr/>
        </p:nvSpPr>
        <p:spPr>
          <a:xfrm>
            <a:off x="635468" y="1926867"/>
            <a:ext cx="10224632" cy="1132554"/>
          </a:xfrm>
          <a:prstGeom prst="rect">
            <a:avLst/>
          </a:prstGeom>
        </p:spPr>
        <p:txBody>
          <a:bodyPr vert="horz" lIns="91440" tIns="45720" rIns="91440" bIns="45720">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defRPr sz="3200" i="1">
                <a:solidFill>
                  <a:srgbClr val="F9C608"/>
                </a:solidFill>
                <a:latin typeface="Palatino" pitchFamily="2" charset="77"/>
                <a:ea typeface="Palatino" pitchFamily="2" charset="77"/>
              </a:defRPr>
            </a:pPr>
            <a:r>
              <a:t>Sua </a:t>
            </a:r>
            <a:r>
              <a:rPr err="1"/>
              <a:t>missão</a:t>
            </a:r>
            <a:r>
              <a:t> é </a:t>
            </a:r>
            <a:r>
              <a:rPr err="1"/>
              <a:t>desenvolver</a:t>
            </a:r>
            <a:r>
              <a:t> </a:t>
            </a:r>
            <a:r>
              <a:rPr err="1"/>
              <a:t>discípulos</a:t>
            </a:r>
            <a:r>
              <a:t> de Jesus Cristo que </a:t>
            </a:r>
            <a:r>
              <a:rPr err="1"/>
              <a:t>sejam</a:t>
            </a:r>
            <a:r>
              <a:t> </a:t>
            </a:r>
            <a:r>
              <a:rPr err="1"/>
              <a:t>líderes</a:t>
            </a:r>
            <a:r>
              <a:t> </a:t>
            </a:r>
            <a:r>
              <a:rPr err="1"/>
              <a:t>em</a:t>
            </a:r>
            <a:r>
              <a:t> </a:t>
            </a:r>
            <a:r>
              <a:rPr err="1"/>
              <a:t>seus</a:t>
            </a:r>
            <a:r>
              <a:t> </a:t>
            </a:r>
            <a:r>
              <a:rPr err="1"/>
              <a:t>lares</a:t>
            </a:r>
            <a:r>
              <a:t>, </a:t>
            </a:r>
            <a:r>
              <a:rPr err="1"/>
              <a:t>na</a:t>
            </a:r>
            <a:r>
              <a:t> </a:t>
            </a:r>
            <a:r>
              <a:rPr err="1"/>
              <a:t>Igreja</a:t>
            </a:r>
            <a:r>
              <a:t> e </a:t>
            </a:r>
            <a:r>
              <a:rPr err="1"/>
              <a:t>em</a:t>
            </a:r>
            <a:r>
              <a:t> </a:t>
            </a:r>
            <a:r>
              <a:rPr err="1"/>
              <a:t>suas</a:t>
            </a:r>
            <a:r>
              <a:t> </a:t>
            </a:r>
            <a:r>
              <a:rPr err="1"/>
              <a:t>comunidades</a:t>
            </a:r>
            <a:r>
              <a:t>.</a:t>
            </a:r>
          </a:p>
          <a:p>
            <a:pPr marL="0" indent="0">
              <a:lnSpc>
                <a:spcPct val="100000"/>
              </a:lnSpc>
              <a:buFont typeface="Arial"/>
              <a:buNone/>
            </a:pPr>
            <a:endParaRPr lang="en-US" sz="2000" i="1">
              <a:solidFill>
                <a:schemeClr val="tx2">
                  <a:lumMod val="90000"/>
                  <a:lumOff val="10000"/>
                </a:schemeClr>
              </a:solidFill>
            </a:endParaRPr>
          </a:p>
        </p:txBody>
      </p:sp>
      <p:sp>
        <p:nvSpPr>
          <p:cNvPr id="8" name="Content Placeholder 2">
            <a:extLst>
              <a:ext uri="{FF2B5EF4-FFF2-40B4-BE49-F238E27FC236}">
                <a16:creationId xmlns:a16="http://schemas.microsoft.com/office/drawing/2014/main" id="{DBCEA2A6-37A2-EE4F-916C-1C105125B95B}"/>
              </a:ext>
            </a:extLst>
          </p:cNvPr>
          <p:cNvSpPr txBox="1">
            <a:spLocks/>
          </p:cNvSpPr>
          <p:nvPr/>
        </p:nvSpPr>
        <p:spPr>
          <a:xfrm>
            <a:off x="651975" y="3813822"/>
            <a:ext cx="10888050" cy="344169"/>
          </a:xfrm>
          <a:prstGeom prst="rect">
            <a:avLst/>
          </a:prstGeom>
        </p:spPr>
        <p:txBody>
          <a:bodyPr vert="horz" lIns="91440" tIns="45720" rIns="91440" bIns="45720">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000" b="1" spc="70"/>
            </a:pPr>
            <a:r>
              <a:t>ESTUDANTES QUE PARTICIPAM DA BYU-PATHWAY EM TODO O MUNDO:</a:t>
            </a:r>
          </a:p>
          <a:p>
            <a:pPr marL="0" indent="0">
              <a:buFont typeface="Arial"/>
              <a:buNone/>
            </a:pPr>
            <a:endParaRPr lang="en-US" sz="2000" b="1" spc="70"/>
          </a:p>
        </p:txBody>
      </p:sp>
      <p:grpSp>
        <p:nvGrpSpPr>
          <p:cNvPr id="10" name="Group 9">
            <a:extLst>
              <a:ext uri="{FF2B5EF4-FFF2-40B4-BE49-F238E27FC236}">
                <a16:creationId xmlns:a16="http://schemas.microsoft.com/office/drawing/2014/main" id="{5610CB5B-3D7A-7B41-84CD-5A9624E4D204}"/>
              </a:ext>
            </a:extLst>
          </p:cNvPr>
          <p:cNvGrpSpPr/>
          <p:nvPr/>
        </p:nvGrpSpPr>
        <p:grpSpPr>
          <a:xfrm>
            <a:off x="4728241" y="4512436"/>
            <a:ext cx="2283402" cy="1700515"/>
            <a:chOff x="4558319" y="4400464"/>
            <a:chExt cx="2283402" cy="1700515"/>
          </a:xfrm>
        </p:grpSpPr>
        <p:sp>
          <p:nvSpPr>
            <p:cNvPr id="13" name="Content Placeholder 2">
              <a:extLst>
                <a:ext uri="{FF2B5EF4-FFF2-40B4-BE49-F238E27FC236}">
                  <a16:creationId xmlns:a16="http://schemas.microsoft.com/office/drawing/2014/main" id="{214F4EDA-9E65-7A44-8530-C208ED9530BB}"/>
                </a:ext>
              </a:extLst>
            </p:cNvPr>
            <p:cNvSpPr txBox="1">
              <a:spLocks/>
            </p:cNvSpPr>
            <p:nvPr/>
          </p:nvSpPr>
          <p:spPr>
            <a:xfrm>
              <a:off x="4558319" y="5169663"/>
              <a:ext cx="2283402" cy="931316"/>
            </a:xfrm>
            <a:prstGeom prst="rect">
              <a:avLst/>
            </a:prstGeom>
          </p:spPr>
          <p:txBody>
            <a:bodyPr vert="horz" lIns="91440" tIns="45720" rIns="91440" bIns="45720">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2000" b="1"/>
              </a:pPr>
              <a:r>
                <a:rPr err="1"/>
                <a:t>Tornem</a:t>
              </a:r>
              <a:r>
                <a:t>-se </a:t>
              </a:r>
              <a:r>
                <a:rPr err="1"/>
                <a:t>aprendizes</a:t>
              </a:r>
              <a:r>
                <a:t> </a:t>
              </a:r>
              <a:r>
                <a:rPr err="1"/>
                <a:t>capazes</a:t>
              </a:r>
            </a:p>
            <a:p>
              <a:pPr marL="0" indent="0">
                <a:buFont typeface="Arial"/>
                <a:buNone/>
              </a:pPr>
              <a:endParaRPr lang="en-US"/>
            </a:p>
          </p:txBody>
        </p:sp>
        <p:pic>
          <p:nvPicPr>
            <p:cNvPr id="9" name="Graphic 8">
              <a:extLst>
                <a:ext uri="{FF2B5EF4-FFF2-40B4-BE49-F238E27FC236}">
                  <a16:creationId xmlns:a16="http://schemas.microsoft.com/office/drawing/2014/main" id="{176735A7-3AE8-2247-B4CF-8DEF63CA10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72519" y="4400464"/>
              <a:ext cx="663981" cy="663981"/>
            </a:xfrm>
            <a:prstGeom prst="rect">
              <a:avLst/>
            </a:prstGeom>
          </p:spPr>
        </p:pic>
      </p:grpSp>
      <p:grpSp>
        <p:nvGrpSpPr>
          <p:cNvPr id="15" name="Group 14">
            <a:extLst>
              <a:ext uri="{FF2B5EF4-FFF2-40B4-BE49-F238E27FC236}">
                <a16:creationId xmlns:a16="http://schemas.microsoft.com/office/drawing/2014/main" id="{4E2DAB5D-21E0-4644-A661-13C16A750C4A}"/>
              </a:ext>
            </a:extLst>
          </p:cNvPr>
          <p:cNvGrpSpPr/>
          <p:nvPr/>
        </p:nvGrpSpPr>
        <p:grpSpPr>
          <a:xfrm>
            <a:off x="1064241" y="4650948"/>
            <a:ext cx="2840651" cy="1557882"/>
            <a:chOff x="1064241" y="4538976"/>
            <a:chExt cx="2840651" cy="1557882"/>
          </a:xfrm>
        </p:grpSpPr>
        <p:sp>
          <p:nvSpPr>
            <p:cNvPr id="12" name="Content Placeholder 2">
              <a:extLst>
                <a:ext uri="{FF2B5EF4-FFF2-40B4-BE49-F238E27FC236}">
                  <a16:creationId xmlns:a16="http://schemas.microsoft.com/office/drawing/2014/main" id="{C897D01E-E99D-A245-8A13-F45949F8C082}"/>
                </a:ext>
              </a:extLst>
            </p:cNvPr>
            <p:cNvSpPr txBox="1">
              <a:spLocks/>
            </p:cNvSpPr>
            <p:nvPr/>
          </p:nvSpPr>
          <p:spPr>
            <a:xfrm>
              <a:off x="1064241" y="5136201"/>
              <a:ext cx="2840651" cy="960657"/>
            </a:xfrm>
            <a:prstGeom prst="rect">
              <a:avLst/>
            </a:prstGeom>
          </p:spPr>
          <p:txBody>
            <a:bodyPr vert="horz" lIns="91440" tIns="45720" rIns="91440" bIns="45720">
              <a:normAutofit fontScale="925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defRPr b="1"/>
              </a:pPr>
              <a:r>
                <a:rPr err="1"/>
                <a:t>Levam</a:t>
              </a:r>
              <a:r>
                <a:t> o </a:t>
              </a:r>
              <a:r>
                <a:rPr err="1"/>
                <a:t>evangelho</a:t>
              </a:r>
              <a:r>
                <a:t> para </a:t>
              </a:r>
              <a:r>
                <a:rPr err="1"/>
                <a:t>dentro</a:t>
              </a:r>
              <a:r>
                <a:t> de </a:t>
              </a:r>
              <a:r>
                <a:rPr err="1"/>
                <a:t>seus</a:t>
              </a:r>
              <a:r>
                <a:t> </a:t>
              </a:r>
              <a:r>
                <a:rPr err="1"/>
                <a:t>corações</a:t>
              </a:r>
            </a:p>
            <a:p>
              <a:pPr marL="0" indent="0">
                <a:lnSpc>
                  <a:spcPct val="110000"/>
                </a:lnSpc>
                <a:buFont typeface="Arial"/>
                <a:buNone/>
              </a:pPr>
              <a:endParaRPr lang="en-US"/>
            </a:p>
          </p:txBody>
        </p:sp>
        <p:pic>
          <p:nvPicPr>
            <p:cNvPr id="11" name="Graphic 10">
              <a:extLst>
                <a:ext uri="{FF2B5EF4-FFF2-40B4-BE49-F238E27FC236}">
                  <a16:creationId xmlns:a16="http://schemas.microsoft.com/office/drawing/2014/main" id="{755A6251-C87C-3141-9F9F-CDEDD75626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3326" y="4538976"/>
              <a:ext cx="556765" cy="556765"/>
            </a:xfrm>
            <a:prstGeom prst="rect">
              <a:avLst/>
            </a:prstGeom>
          </p:spPr>
        </p:pic>
      </p:grpSp>
      <p:grpSp>
        <p:nvGrpSpPr>
          <p:cNvPr id="5" name="Group 4">
            <a:extLst>
              <a:ext uri="{FF2B5EF4-FFF2-40B4-BE49-F238E27FC236}">
                <a16:creationId xmlns:a16="http://schemas.microsoft.com/office/drawing/2014/main" id="{FBA07934-62AC-294C-BDC6-410FB47BE9C4}"/>
              </a:ext>
            </a:extLst>
          </p:cNvPr>
          <p:cNvGrpSpPr/>
          <p:nvPr/>
        </p:nvGrpSpPr>
        <p:grpSpPr>
          <a:xfrm>
            <a:off x="7975745" y="4652648"/>
            <a:ext cx="2941984" cy="1526087"/>
            <a:chOff x="7713927" y="4540676"/>
            <a:chExt cx="2941984" cy="1526087"/>
          </a:xfrm>
        </p:grpSpPr>
        <p:sp>
          <p:nvSpPr>
            <p:cNvPr id="14" name="Content Placeholder 2">
              <a:extLst>
                <a:ext uri="{FF2B5EF4-FFF2-40B4-BE49-F238E27FC236}">
                  <a16:creationId xmlns:a16="http://schemas.microsoft.com/office/drawing/2014/main" id="{3D19938C-6335-2249-A13D-06A60FE39D74}"/>
                </a:ext>
              </a:extLst>
            </p:cNvPr>
            <p:cNvSpPr txBox="1">
              <a:spLocks/>
            </p:cNvSpPr>
            <p:nvPr/>
          </p:nvSpPr>
          <p:spPr>
            <a:xfrm>
              <a:off x="7713927" y="5112509"/>
              <a:ext cx="2941984" cy="954254"/>
            </a:xfrm>
            <a:prstGeom prst="rect">
              <a:avLst/>
            </a:prstGeom>
          </p:spPr>
          <p:txBody>
            <a:bodyPr vert="horz" lIns="91440" tIns="45720" rIns="91440" bIns="45720">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defRPr sz="2000" b="1"/>
              </a:pPr>
              <a:r>
                <a:rPr err="1"/>
                <a:t>Preparam</a:t>
              </a:r>
              <a:r>
                <a:t>-se para </a:t>
              </a:r>
              <a:r>
                <a:rPr err="1"/>
                <a:t>liderar</a:t>
              </a:r>
              <a:r>
                <a:t> e </a:t>
              </a:r>
              <a:r>
                <a:rPr err="1"/>
                <a:t>apoiar</a:t>
              </a:r>
              <a:r>
                <a:t> </a:t>
              </a:r>
              <a:r>
                <a:rPr err="1"/>
                <a:t>suas</a:t>
              </a:r>
              <a:r>
                <a:t> </a:t>
              </a:r>
              <a:r>
                <a:rPr err="1"/>
                <a:t>famílias</a:t>
              </a:r>
            </a:p>
            <a:p>
              <a:pPr marL="0" indent="0">
                <a:buFont typeface="Arial"/>
                <a:buNone/>
              </a:pPr>
              <a:endParaRPr lang="en-US" sz="2400" b="1"/>
            </a:p>
          </p:txBody>
        </p:sp>
        <p:pic>
          <p:nvPicPr>
            <p:cNvPr id="18" name="Graphic 17">
              <a:extLst>
                <a:ext uri="{FF2B5EF4-FFF2-40B4-BE49-F238E27FC236}">
                  <a16:creationId xmlns:a16="http://schemas.microsoft.com/office/drawing/2014/main" id="{3E271B06-2EC5-7D49-BAEA-87F3523BD7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96560" y="4540676"/>
              <a:ext cx="768000" cy="448000"/>
            </a:xfrm>
            <a:prstGeom prst="rect">
              <a:avLst/>
            </a:prstGeom>
          </p:spPr>
        </p:pic>
      </p:grpSp>
      <p:sp>
        <p:nvSpPr>
          <p:cNvPr id="17" name="Rectangle 16">
            <a:extLst>
              <a:ext uri="{FF2B5EF4-FFF2-40B4-BE49-F238E27FC236}">
                <a16:creationId xmlns:a16="http://schemas.microsoft.com/office/drawing/2014/main" id="{62F685AB-5384-DB72-F4DC-15BDFFA79146}"/>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9" name="Picture 18" descr="Text  Description automatically generated">
            <a:extLst>
              <a:ext uri="{FF2B5EF4-FFF2-40B4-BE49-F238E27FC236}">
                <a16:creationId xmlns:a16="http://schemas.microsoft.com/office/drawing/2014/main" id="{E2FED95A-6FE2-6B6F-CCAA-7BD382B02DF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252452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residentClarkASchoolinZionSegment1.mp4" descr="PresidentClarkASchoolinZionSegment1.mp4">
            <a:hlinkClick r:id="" action="ppaction://media"/>
            <a:extLst>
              <a:ext uri="{FF2B5EF4-FFF2-40B4-BE49-F238E27FC236}">
                <a16:creationId xmlns:a16="http://schemas.microsoft.com/office/drawing/2014/main" id="{A763C78B-B9FD-1D4E-B252-A8CAE0E4C88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5" name="Triangle 4">
            <a:extLst>
              <a:ext uri="{FF2B5EF4-FFF2-40B4-BE49-F238E27FC236}">
                <a16:creationId xmlns:a16="http://schemas.microsoft.com/office/drawing/2014/main" id="{270E3A0C-3B09-9F46-BFF6-5784E194DBBB}"/>
              </a:ext>
            </a:extLst>
          </p:cNvPr>
          <p:cNvSpPr/>
          <p:nvPr/>
        </p:nvSpPr>
        <p:spPr>
          <a:xfrm rot="5400000">
            <a:off x="5632450" y="2823936"/>
            <a:ext cx="927100" cy="8509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Rectangle 5">
            <a:extLst>
              <a:ext uri="{FF2B5EF4-FFF2-40B4-BE49-F238E27FC236}">
                <a16:creationId xmlns:a16="http://schemas.microsoft.com/office/drawing/2014/main" id="{38CDA766-A8E2-574E-A2B3-C6AF89A2092F}"/>
              </a:ext>
            </a:extLst>
          </p:cNvPr>
          <p:cNvSpPr/>
          <p:nvPr/>
        </p:nvSpPr>
        <p:spPr>
          <a:xfrm>
            <a:off x="0" y="615677"/>
            <a:ext cx="5347063" cy="94705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Text Placeholder 2">
            <a:extLst>
              <a:ext uri="{FF2B5EF4-FFF2-40B4-BE49-F238E27FC236}">
                <a16:creationId xmlns:a16="http://schemas.microsoft.com/office/drawing/2014/main" id="{298BE645-7BD3-584B-967F-C6BFDCFFF150}"/>
              </a:ext>
            </a:extLst>
          </p:cNvPr>
          <p:cNvSpPr txBox="1">
            <a:spLocks/>
          </p:cNvSpPr>
          <p:nvPr/>
        </p:nvSpPr>
        <p:spPr>
          <a:xfrm>
            <a:off x="559749" y="745849"/>
            <a:ext cx="3630043" cy="455612"/>
          </a:xfrm>
          <a:prstGeom prst="rect">
            <a:avLst/>
          </a:prstGeom>
        </p:spPr>
        <p:txBody>
          <a:bodyPr vert="horz" lIns="91440" tIns="45720" rIns="91440" bIns="45720">
            <a:normAutofit fontScale="55000" lnSpcReduction="2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2800" spc="90">
                <a:solidFill>
                  <a:schemeClr val="bg1"/>
                </a:solidFill>
                <a:latin typeface="+mj-lt"/>
              </a:defRPr>
            </a:pPr>
            <a:r>
              <a:t>UMA FERRAMENTA DE MINISTRAÇÃO</a:t>
            </a:r>
          </a:p>
        </p:txBody>
      </p:sp>
    </p:spTree>
    <p:extLst>
      <p:ext uri="{BB962C8B-B14F-4D97-AF65-F5344CB8AC3E}">
        <p14:creationId xmlns:p14="http://schemas.microsoft.com/office/powerpoint/2010/main" val="156438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9962" fill="hold"/>
                                        <p:tgtEl>
                                          <p:spTgt spid="2"/>
                                        </p:tgtEl>
                                      </p:cBhvr>
                                    </p:cmd>
                                  </p:childTnLst>
                                </p:cTn>
                              </p:par>
                              <p:par>
                                <p:cTn id="7" presetID="10" presetClass="exit" presetSubtype="0" fill="hold" grpId="0" nodeType="withEffect">
                                  <p:stCondLst>
                                    <p:cond delay="0"/>
                                  </p:stCondLst>
                                  <p:childTnLst>
                                    <p:animEffect transition="out" filter="fade">
                                      <p:cBhvr>
                                        <p:cTn id="8" dur="500"/>
                                        <p:tgtEl>
                                          <p:spTgt spid="7"/>
                                        </p:tgtEl>
                                      </p:cBhvr>
                                    </p:animEffect>
                                    <p:set>
                                      <p:cBhvr>
                                        <p:cTn id="9" dur="1" fill="hold">
                                          <p:stCondLst>
                                            <p:cond delay="499"/>
                                          </p:stCondLst>
                                        </p:cTn>
                                        <p:tgtEl>
                                          <p:spTgt spid="7"/>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6" fill="hold" display="0">
                  <p:stCondLst>
                    <p:cond delay="indefinite"/>
                  </p:stCondLst>
                </p:cTn>
                <p:tgtEl>
                  <p:spTgt spid="2"/>
                </p:tgtEl>
              </p:cMediaNode>
            </p:video>
          </p:childTnLst>
        </p:cTn>
      </p:par>
    </p:tnLst>
    <p:bldLst>
      <p:bldP spid="5" grpId="0" animBg="1"/>
      <p:bldP spid="6" grpId="0" animBg="1"/>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CCBD9E5A-B8CF-BA45-9DF4-21000665A8A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a:ext>
            </a:extLst>
          </a:blip>
          <a:srcRect/>
          <a:stretch>
            <a:fillRect/>
          </a:stretch>
        </p:blipFill>
        <p:spPr>
          <a:xfrm>
            <a:off x="7593013" y="0"/>
            <a:ext cx="4598987" cy="6858000"/>
          </a:xfrm>
        </p:spPr>
      </p:pic>
      <p:sp>
        <p:nvSpPr>
          <p:cNvPr id="4" name="Content Placeholder 3">
            <a:extLst>
              <a:ext uri="{FF2B5EF4-FFF2-40B4-BE49-F238E27FC236}">
                <a16:creationId xmlns:a16="http://schemas.microsoft.com/office/drawing/2014/main" id="{B584CEB7-306D-9D4B-8A46-9E23D7A9C839}"/>
              </a:ext>
            </a:extLst>
          </p:cNvPr>
          <p:cNvSpPr>
            <a:spLocks noGrp="1"/>
          </p:cNvSpPr>
          <p:nvPr>
            <p:ph sz="quarter" idx="4294967295"/>
          </p:nvPr>
        </p:nvSpPr>
        <p:spPr>
          <a:xfrm>
            <a:off x="559750" y="1489075"/>
            <a:ext cx="6422665" cy="5054600"/>
          </a:xfrm>
        </p:spPr>
        <p:txBody>
          <a:bodyPr>
            <a:normAutofit/>
          </a:bodyPr>
          <a:lstStyle/>
          <a:p>
            <a:pPr marL="0" indent="0">
              <a:lnSpc>
                <a:spcPct val="100000"/>
              </a:lnSpc>
              <a:buNone/>
              <a:defRPr sz="2000"/>
            </a:pPr>
            <a:r>
              <a:t>BYU-Pathway é </a:t>
            </a:r>
            <a:r>
              <a:rPr err="1"/>
              <a:t>mais</a:t>
            </a:r>
            <a:r>
              <a:t> do que um </a:t>
            </a:r>
            <a:r>
              <a:rPr err="1"/>
              <a:t>caminho</a:t>
            </a:r>
            <a:r>
              <a:t> para um diploma – </a:t>
            </a:r>
            <a:r>
              <a:rPr err="1"/>
              <a:t>pode</a:t>
            </a:r>
            <a:r>
              <a:t> ser </a:t>
            </a:r>
            <a:r>
              <a:rPr err="1"/>
              <a:t>uma</a:t>
            </a:r>
            <a:r>
              <a:t> ferramenta </a:t>
            </a:r>
            <a:r>
              <a:rPr err="1"/>
              <a:t>poderosa</a:t>
            </a:r>
            <a:r>
              <a:t> </a:t>
            </a:r>
            <a:r>
              <a:rPr err="1"/>
              <a:t>nos</a:t>
            </a:r>
            <a:r>
              <a:t> </a:t>
            </a:r>
            <a:r>
              <a:rPr err="1"/>
              <a:t>esforços</a:t>
            </a:r>
            <a:r>
              <a:t> de </a:t>
            </a:r>
            <a:r>
              <a:rPr err="1"/>
              <a:t>ministração</a:t>
            </a:r>
            <a:r>
              <a:t> dos </a:t>
            </a:r>
            <a:r>
              <a:rPr err="1"/>
              <a:t>líderes</a:t>
            </a:r>
            <a:r>
              <a:t> da </a:t>
            </a:r>
            <a:r>
              <a:rPr err="1"/>
              <a:t>Igreja</a:t>
            </a:r>
            <a:r>
              <a:t>. A </a:t>
            </a:r>
            <a:r>
              <a:rPr err="1"/>
              <a:t>seguir</a:t>
            </a:r>
            <a:r>
              <a:t> </a:t>
            </a:r>
            <a:r>
              <a:rPr err="1"/>
              <a:t>estão</a:t>
            </a:r>
            <a:r>
              <a:t> </a:t>
            </a:r>
            <a:r>
              <a:rPr err="1"/>
              <a:t>apenas</a:t>
            </a:r>
            <a:r>
              <a:t> </a:t>
            </a:r>
            <a:r>
              <a:rPr err="1"/>
              <a:t>alguns</a:t>
            </a:r>
            <a:r>
              <a:t> dos </a:t>
            </a:r>
            <a:r>
              <a:rPr err="1"/>
              <a:t>grupos</a:t>
            </a:r>
            <a:r>
              <a:t> que o </a:t>
            </a:r>
            <a:r>
              <a:rPr err="1"/>
              <a:t>modelo</a:t>
            </a:r>
            <a:r>
              <a:t> </a:t>
            </a:r>
            <a:r>
              <a:rPr err="1"/>
              <a:t>flexível</a:t>
            </a:r>
            <a:r>
              <a:t> e de </a:t>
            </a:r>
            <a:r>
              <a:rPr err="1"/>
              <a:t>baixo</a:t>
            </a:r>
            <a:r>
              <a:t> </a:t>
            </a:r>
            <a:r>
              <a:rPr err="1"/>
              <a:t>custo</a:t>
            </a:r>
            <a:r>
              <a:t> da BYU-Pathway </a:t>
            </a:r>
            <a:r>
              <a:rPr err="1"/>
              <a:t>pode</a:t>
            </a:r>
            <a:r>
              <a:t> </a:t>
            </a:r>
            <a:r>
              <a:rPr err="1"/>
              <a:t>fortalecer</a:t>
            </a:r>
            <a:r>
              <a:t> </a:t>
            </a:r>
            <a:r>
              <a:rPr err="1"/>
              <a:t>espiritual</a:t>
            </a:r>
            <a:r>
              <a:t> e </a:t>
            </a:r>
            <a:r>
              <a:rPr err="1"/>
              <a:t>temporalmente</a:t>
            </a:r>
            <a:r>
              <a:t>:</a:t>
            </a:r>
          </a:p>
          <a:p>
            <a:pPr marL="457200" lvl="1" indent="0">
              <a:lnSpc>
                <a:spcPct val="110000"/>
              </a:lnSpc>
              <a:buNone/>
            </a:pPr>
            <a:endParaRPr lang="en-US" sz="800" b="1"/>
          </a:p>
          <a:p>
            <a:pPr marL="0" indent="0">
              <a:lnSpc>
                <a:spcPct val="110000"/>
              </a:lnSpc>
              <a:buNone/>
            </a:pPr>
            <a:r>
              <a:rPr sz="2400" b="1">
                <a:solidFill>
                  <a:srgbClr val="3793A7"/>
                </a:solidFill>
              </a:rPr>
              <a:t>FUTUROS ÉLDERES</a:t>
            </a:r>
            <a:br>
              <a:rPr lang="en-US" sz="2000"/>
            </a:br>
            <a:r>
              <a:rPr sz="1800"/>
              <a:t>A BYU-Pathway </a:t>
            </a:r>
            <a:r>
              <a:rPr sz="1800" err="1"/>
              <a:t>pode</a:t>
            </a:r>
            <a:r>
              <a:rPr sz="1800"/>
              <a:t> </a:t>
            </a:r>
            <a:r>
              <a:rPr sz="1800" err="1"/>
              <a:t>proporcionar</a:t>
            </a:r>
            <a:r>
              <a:rPr sz="1800"/>
              <a:t> </a:t>
            </a:r>
            <a:r>
              <a:rPr sz="1800" err="1"/>
              <a:t>crescimento</a:t>
            </a:r>
            <a:r>
              <a:rPr sz="1800"/>
              <a:t> </a:t>
            </a:r>
            <a:r>
              <a:rPr sz="1800" err="1"/>
              <a:t>espiritual</a:t>
            </a:r>
            <a:r>
              <a:rPr sz="1800"/>
              <a:t>, </a:t>
            </a:r>
            <a:r>
              <a:rPr sz="1800" err="1"/>
              <a:t>acesso</a:t>
            </a:r>
            <a:r>
              <a:rPr sz="1800"/>
              <a:t> à </a:t>
            </a:r>
            <a:r>
              <a:rPr sz="1800" err="1"/>
              <a:t>educação</a:t>
            </a:r>
            <a:r>
              <a:rPr sz="1800"/>
              <a:t> e </a:t>
            </a:r>
            <a:r>
              <a:rPr sz="1800" err="1"/>
              <a:t>uma</a:t>
            </a:r>
            <a:r>
              <a:rPr sz="1800"/>
              <a:t> </a:t>
            </a:r>
            <a:r>
              <a:rPr sz="1800" err="1"/>
              <a:t>carreira</a:t>
            </a:r>
            <a:r>
              <a:rPr sz="1800"/>
              <a:t> </a:t>
            </a:r>
            <a:r>
              <a:rPr sz="1800" err="1"/>
              <a:t>melhor</a:t>
            </a:r>
            <a:r>
              <a:rPr sz="1800"/>
              <a:t>, </a:t>
            </a:r>
            <a:r>
              <a:rPr sz="1800" err="1"/>
              <a:t>ao</a:t>
            </a:r>
            <a:r>
              <a:rPr sz="1800"/>
              <a:t> </a:t>
            </a:r>
            <a:r>
              <a:rPr sz="1800" err="1"/>
              <a:t>mesmo</a:t>
            </a:r>
            <a:r>
              <a:rPr sz="1800"/>
              <a:t> tempo </a:t>
            </a:r>
            <a:r>
              <a:rPr sz="1800" err="1"/>
              <a:t>em</a:t>
            </a:r>
            <a:r>
              <a:rPr sz="1800"/>
              <a:t> que </a:t>
            </a:r>
            <a:r>
              <a:rPr sz="1800" err="1"/>
              <a:t>apresenta</a:t>
            </a:r>
            <a:r>
              <a:rPr sz="1800"/>
              <a:t> </a:t>
            </a:r>
            <a:r>
              <a:rPr sz="1800" err="1"/>
              <a:t>aos</a:t>
            </a:r>
            <a:r>
              <a:rPr sz="1800"/>
              <a:t> </a:t>
            </a:r>
            <a:r>
              <a:rPr sz="1800" err="1"/>
              <a:t>membros</a:t>
            </a:r>
            <a:r>
              <a:rPr sz="1800"/>
              <a:t> da </a:t>
            </a:r>
            <a:r>
              <a:rPr sz="1800" err="1"/>
              <a:t>família</a:t>
            </a:r>
            <a:r>
              <a:rPr sz="1800"/>
              <a:t> o </a:t>
            </a:r>
            <a:r>
              <a:rPr sz="1800" err="1"/>
              <a:t>evangelho</a:t>
            </a:r>
            <a:r>
              <a:rPr sz="1800"/>
              <a:t>.</a:t>
            </a:r>
          </a:p>
          <a:p>
            <a:pPr marL="0" indent="0">
              <a:lnSpc>
                <a:spcPct val="110000"/>
              </a:lnSpc>
              <a:buNone/>
            </a:pPr>
            <a:r>
              <a:rPr sz="2400" b="1">
                <a:solidFill>
                  <a:srgbClr val="3793A7"/>
                </a:solidFill>
              </a:rPr>
              <a:t>MISSIONÁRIOS RECÉM-RETORNADOS</a:t>
            </a:r>
            <a:br>
              <a:rPr lang="en-US" sz="1800"/>
            </a:br>
            <a:r>
              <a:rPr sz="1800"/>
              <a:t>A BYU-Pathway </a:t>
            </a:r>
            <a:r>
              <a:rPr sz="1800" err="1"/>
              <a:t>pode</a:t>
            </a:r>
            <a:r>
              <a:rPr sz="1800"/>
              <a:t> </a:t>
            </a:r>
            <a:r>
              <a:rPr sz="1800" err="1"/>
              <a:t>ajudar</a:t>
            </a:r>
            <a:r>
              <a:rPr sz="1800"/>
              <a:t> </a:t>
            </a:r>
            <a:r>
              <a:rPr sz="1800" err="1"/>
              <a:t>os</a:t>
            </a:r>
            <a:r>
              <a:rPr sz="1800"/>
              <a:t> </a:t>
            </a:r>
            <a:r>
              <a:rPr sz="1800" err="1"/>
              <a:t>missionários</a:t>
            </a:r>
            <a:r>
              <a:rPr sz="1800"/>
              <a:t> que </a:t>
            </a:r>
            <a:r>
              <a:rPr sz="1800" err="1"/>
              <a:t>retornaram</a:t>
            </a:r>
            <a:r>
              <a:rPr sz="1800"/>
              <a:t> a </a:t>
            </a:r>
            <a:r>
              <a:rPr sz="1800" err="1"/>
              <a:t>continuar</a:t>
            </a:r>
            <a:r>
              <a:rPr sz="1800"/>
              <a:t> </a:t>
            </a:r>
            <a:r>
              <a:rPr sz="1800" err="1"/>
              <a:t>envolvidos</a:t>
            </a:r>
            <a:r>
              <a:rPr sz="1800"/>
              <a:t> no </a:t>
            </a:r>
            <a:r>
              <a:rPr sz="1800" err="1"/>
              <a:t>evangelho</a:t>
            </a:r>
            <a:r>
              <a:rPr sz="1800"/>
              <a:t> </a:t>
            </a:r>
            <a:r>
              <a:rPr sz="1800" err="1"/>
              <a:t>enquanto</a:t>
            </a:r>
            <a:r>
              <a:rPr sz="1800"/>
              <a:t> </a:t>
            </a:r>
            <a:r>
              <a:rPr sz="1800" err="1"/>
              <a:t>recebem</a:t>
            </a:r>
            <a:r>
              <a:rPr sz="1800"/>
              <a:t> </a:t>
            </a:r>
            <a:r>
              <a:rPr sz="1800" err="1"/>
              <a:t>educação</a:t>
            </a:r>
            <a:r>
              <a:rPr sz="1800"/>
              <a:t> e </a:t>
            </a:r>
            <a:r>
              <a:rPr sz="1800" err="1"/>
              <a:t>progridem</a:t>
            </a:r>
            <a:r>
              <a:rPr sz="1800"/>
              <a:t> </a:t>
            </a:r>
            <a:r>
              <a:rPr sz="1800" err="1"/>
              <a:t>em</a:t>
            </a:r>
            <a:r>
              <a:rPr sz="1800"/>
              <a:t> </a:t>
            </a:r>
            <a:r>
              <a:rPr sz="1800" err="1"/>
              <a:t>direção</a:t>
            </a:r>
            <a:r>
              <a:rPr sz="1800"/>
              <a:t> a </a:t>
            </a:r>
            <a:r>
              <a:rPr sz="1800" err="1"/>
              <a:t>uma</a:t>
            </a:r>
            <a:r>
              <a:rPr sz="1800"/>
              <a:t> </a:t>
            </a:r>
            <a:r>
              <a:rPr sz="1800" err="1"/>
              <a:t>família</a:t>
            </a:r>
            <a:r>
              <a:rPr sz="1800"/>
              <a:t> e </a:t>
            </a:r>
            <a:r>
              <a:rPr sz="1800" err="1"/>
              <a:t>uma</a:t>
            </a:r>
            <a:r>
              <a:rPr sz="1800"/>
              <a:t> </a:t>
            </a:r>
            <a:r>
              <a:rPr sz="1800" err="1"/>
              <a:t>carreira</a:t>
            </a:r>
            <a:r>
              <a:rPr sz="1800"/>
              <a:t>.</a:t>
            </a:r>
          </a:p>
        </p:txBody>
      </p:sp>
      <p:sp>
        <p:nvSpPr>
          <p:cNvPr id="7" name="Text Placeholder 1">
            <a:extLst>
              <a:ext uri="{FF2B5EF4-FFF2-40B4-BE49-F238E27FC236}">
                <a16:creationId xmlns:a16="http://schemas.microsoft.com/office/drawing/2014/main" id="{19BA7E76-E466-9240-A419-49D1B14B079B}"/>
              </a:ext>
            </a:extLst>
          </p:cNvPr>
          <p:cNvSpPr txBox="1">
            <a:spLocks/>
          </p:cNvSpPr>
          <p:nvPr/>
        </p:nvSpPr>
        <p:spPr>
          <a:xfrm>
            <a:off x="538970" y="661898"/>
            <a:ext cx="5162142"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Para </a:t>
            </a:r>
            <a:r>
              <a:rPr err="1"/>
              <a:t>Líderes</a:t>
            </a:r>
            <a:r>
              <a:t> da </a:t>
            </a:r>
            <a:r>
              <a:rPr err="1"/>
              <a:t>Igreja</a:t>
            </a:r>
          </a:p>
        </p:txBody>
      </p:sp>
    </p:spTree>
    <p:extLst>
      <p:ext uri="{BB962C8B-B14F-4D97-AF65-F5344CB8AC3E}">
        <p14:creationId xmlns:p14="http://schemas.microsoft.com/office/powerpoint/2010/main" val="266186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C0A096C8-1AC9-1943-B74F-4A7520050FF3}"/>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a:ext>
            </a:extLst>
          </a:blip>
          <a:srcRect/>
          <a:stretch>
            <a:fillRect/>
          </a:stretch>
        </p:blipFill>
        <p:spPr>
          <a:xfrm>
            <a:off x="7593013" y="0"/>
            <a:ext cx="4598987" cy="6858000"/>
          </a:xfrm>
        </p:spPr>
      </p:pic>
      <p:sp>
        <p:nvSpPr>
          <p:cNvPr id="4" name="Content Placeholder 3">
            <a:extLst>
              <a:ext uri="{FF2B5EF4-FFF2-40B4-BE49-F238E27FC236}">
                <a16:creationId xmlns:a16="http://schemas.microsoft.com/office/drawing/2014/main" id="{B584CEB7-306D-9D4B-8A46-9E23D7A9C839}"/>
              </a:ext>
            </a:extLst>
          </p:cNvPr>
          <p:cNvSpPr>
            <a:spLocks noGrp="1"/>
          </p:cNvSpPr>
          <p:nvPr>
            <p:ph sz="quarter" idx="4294967295"/>
          </p:nvPr>
        </p:nvSpPr>
        <p:spPr>
          <a:xfrm>
            <a:off x="602555" y="1221121"/>
            <a:ext cx="6267749" cy="5165867"/>
          </a:xfrm>
        </p:spPr>
        <p:txBody>
          <a:bodyPr vert="horz" lIns="91440" tIns="45720" rIns="91440" bIns="45720" rtlCol="0" anchor="t">
            <a:noAutofit/>
          </a:bodyPr>
          <a:lstStyle/>
          <a:p>
            <a:pPr marL="0" indent="0">
              <a:lnSpc>
                <a:spcPct val="100000"/>
              </a:lnSpc>
              <a:spcAft>
                <a:spcPts val="1200"/>
              </a:spcAft>
              <a:buNone/>
            </a:pPr>
            <a:r>
              <a:rPr sz="2400" b="1">
                <a:solidFill>
                  <a:srgbClr val="3793A7"/>
                </a:solidFill>
              </a:rPr>
              <a:t>JOVENS ADULTOS SOLTEIROS</a:t>
            </a:r>
            <a:br>
              <a:rPr lang="en-US" sz="1800"/>
            </a:br>
            <a:r>
              <a:rPr lang="en-US" sz="1700" err="1"/>
              <a:t>Os</a:t>
            </a:r>
            <a:r>
              <a:rPr lang="en-US" sz="1700" dirty="0"/>
              <a:t> </a:t>
            </a:r>
            <a:r>
              <a:rPr lang="en-US" sz="1700" err="1"/>
              <a:t>cursos</a:t>
            </a:r>
            <a:r>
              <a:rPr lang="en-US" sz="1700" dirty="0"/>
              <a:t> da BYU-Pathway </a:t>
            </a:r>
            <a:r>
              <a:rPr lang="en-US" sz="1700" err="1"/>
              <a:t>baseados</a:t>
            </a:r>
            <a:r>
              <a:rPr lang="en-US" sz="1700" dirty="0"/>
              <a:t> no </a:t>
            </a:r>
            <a:r>
              <a:rPr lang="en-US" sz="1700" err="1"/>
              <a:t>evangelho</a:t>
            </a:r>
            <a:r>
              <a:rPr lang="en-US" sz="1700" dirty="0"/>
              <a:t> e </a:t>
            </a:r>
            <a:r>
              <a:rPr lang="en-US" sz="1700" err="1"/>
              <a:t>os</a:t>
            </a:r>
            <a:r>
              <a:rPr lang="en-US" sz="1700" dirty="0"/>
              <a:t> </a:t>
            </a:r>
            <a:r>
              <a:rPr lang="en-US" sz="1700" err="1"/>
              <a:t>requisitos</a:t>
            </a:r>
            <a:r>
              <a:rPr lang="en-US" sz="1700" dirty="0"/>
              <a:t> do </a:t>
            </a:r>
            <a:r>
              <a:rPr lang="en-US" sz="1700" err="1"/>
              <a:t>instituto</a:t>
            </a:r>
            <a:r>
              <a:rPr lang="en-US" sz="1700" dirty="0"/>
              <a:t> </a:t>
            </a:r>
            <a:r>
              <a:rPr lang="en-US" sz="1700" err="1"/>
              <a:t>podem</a:t>
            </a:r>
            <a:r>
              <a:rPr lang="en-US" sz="1700" dirty="0"/>
              <a:t> ser </a:t>
            </a:r>
            <a:r>
              <a:rPr lang="en-US" sz="1700" err="1"/>
              <a:t>uma</a:t>
            </a:r>
            <a:r>
              <a:rPr lang="en-US" sz="1700" dirty="0"/>
              <a:t> </a:t>
            </a:r>
            <a:r>
              <a:rPr lang="en-US" sz="1700" err="1"/>
              <a:t>fonte</a:t>
            </a:r>
            <a:r>
              <a:rPr lang="en-US" sz="1700" dirty="0"/>
              <a:t> de </a:t>
            </a:r>
            <a:r>
              <a:rPr lang="en-US" sz="1700" err="1"/>
              <a:t>força</a:t>
            </a:r>
            <a:r>
              <a:rPr lang="en-US" sz="1700" dirty="0"/>
              <a:t> e </a:t>
            </a:r>
            <a:r>
              <a:rPr lang="en-US" sz="1700" err="1"/>
              <a:t>direção</a:t>
            </a:r>
            <a:r>
              <a:rPr lang="en-US" sz="1700" dirty="0"/>
              <a:t> para </a:t>
            </a:r>
            <a:r>
              <a:rPr lang="en-US" sz="1700" err="1"/>
              <a:t>os</a:t>
            </a:r>
            <a:r>
              <a:rPr lang="en-US" sz="1700" dirty="0"/>
              <a:t> </a:t>
            </a:r>
            <a:r>
              <a:rPr lang="en-US" sz="1700" err="1"/>
              <a:t>jovens</a:t>
            </a:r>
            <a:r>
              <a:rPr lang="en-US" sz="1700" dirty="0"/>
              <a:t> </a:t>
            </a:r>
            <a:r>
              <a:rPr lang="en-US" sz="1700" err="1"/>
              <a:t>adultos</a:t>
            </a:r>
            <a:r>
              <a:rPr lang="en-US" sz="1700" dirty="0"/>
              <a:t>.</a:t>
            </a:r>
            <a:endParaRPr lang="en-US" sz="1700" b="1" dirty="0">
              <a:solidFill>
                <a:srgbClr val="F9C608"/>
              </a:solidFill>
            </a:endParaRPr>
          </a:p>
          <a:p>
            <a:pPr marL="0" indent="0">
              <a:lnSpc>
                <a:spcPct val="100000"/>
              </a:lnSpc>
              <a:spcAft>
                <a:spcPts val="1200"/>
              </a:spcAft>
              <a:buNone/>
            </a:pPr>
            <a:r>
              <a:rPr sz="2400" b="1">
                <a:solidFill>
                  <a:srgbClr val="3793A7"/>
                </a:solidFill>
              </a:rPr>
              <a:t>MEMBROS SUBEMPREGADOS DA IGREJA</a:t>
            </a:r>
            <a:br>
              <a:rPr lang="en-US" sz="1800"/>
            </a:br>
            <a:r>
              <a:rPr lang="en-US" sz="1700" dirty="0"/>
              <a:t>A BYU-Pathway </a:t>
            </a:r>
            <a:r>
              <a:rPr lang="en-US" sz="1700" err="1"/>
              <a:t>pode</a:t>
            </a:r>
            <a:r>
              <a:rPr lang="en-US" sz="1700" dirty="0"/>
              <a:t> </a:t>
            </a:r>
            <a:r>
              <a:rPr lang="en-US" sz="1700" err="1"/>
              <a:t>ajudar</a:t>
            </a:r>
            <a:r>
              <a:rPr lang="en-US" sz="1700" dirty="0"/>
              <a:t> </a:t>
            </a:r>
            <a:r>
              <a:rPr lang="en-US" sz="1700" err="1"/>
              <a:t>os</a:t>
            </a:r>
            <a:r>
              <a:rPr lang="en-US" sz="1700" dirty="0"/>
              <a:t> </a:t>
            </a:r>
            <a:r>
              <a:rPr lang="en-US" sz="1700" err="1"/>
              <a:t>membros</a:t>
            </a:r>
            <a:r>
              <a:rPr lang="en-US" sz="1700" dirty="0"/>
              <a:t> a </a:t>
            </a:r>
            <a:r>
              <a:rPr lang="en-US" sz="1700" err="1"/>
              <a:t>obter</a:t>
            </a:r>
            <a:r>
              <a:rPr lang="en-US" sz="1700" dirty="0"/>
              <a:t> </a:t>
            </a:r>
            <a:r>
              <a:rPr lang="en-US" sz="1700" err="1"/>
              <a:t>certificados</a:t>
            </a:r>
            <a:r>
              <a:rPr lang="en-US" sz="1700" dirty="0"/>
              <a:t> </a:t>
            </a:r>
            <a:r>
              <a:rPr lang="en-US" sz="1700" err="1"/>
              <a:t>específicos</a:t>
            </a:r>
            <a:r>
              <a:rPr lang="en-US" sz="1700" dirty="0"/>
              <a:t> para o </a:t>
            </a:r>
            <a:r>
              <a:rPr lang="en-US" sz="1700" err="1"/>
              <a:t>trabalho</a:t>
            </a:r>
            <a:r>
              <a:rPr lang="en-US" sz="1700" dirty="0"/>
              <a:t> e um diploma para </a:t>
            </a:r>
            <a:r>
              <a:rPr lang="en-US" sz="1700" err="1"/>
              <a:t>estabelecer</a:t>
            </a:r>
            <a:r>
              <a:rPr lang="en-US" sz="1700" dirty="0"/>
              <a:t> </a:t>
            </a:r>
            <a:r>
              <a:rPr lang="en-US" sz="1700" err="1"/>
              <a:t>ou</a:t>
            </a:r>
            <a:r>
              <a:rPr lang="en-US" sz="1700" dirty="0"/>
              <a:t> </a:t>
            </a:r>
            <a:r>
              <a:rPr lang="en-US" sz="1700" err="1"/>
              <a:t>fazer</a:t>
            </a:r>
            <a:r>
              <a:rPr lang="en-US" sz="1700" dirty="0"/>
              <a:t> a </a:t>
            </a:r>
            <a:r>
              <a:rPr lang="en-US" sz="1700" err="1"/>
              <a:t>transição</a:t>
            </a:r>
            <a:r>
              <a:rPr lang="en-US" sz="1700" dirty="0"/>
              <a:t> para </a:t>
            </a:r>
            <a:r>
              <a:rPr lang="en-US" sz="1700" err="1"/>
              <a:t>uma</a:t>
            </a:r>
            <a:r>
              <a:rPr lang="en-US" sz="1700" dirty="0"/>
              <a:t> </a:t>
            </a:r>
            <a:r>
              <a:rPr lang="en-US" sz="1700" err="1"/>
              <a:t>carreira</a:t>
            </a:r>
            <a:r>
              <a:rPr lang="en-US" sz="1700" dirty="0"/>
              <a:t>.</a:t>
            </a:r>
            <a:endParaRPr lang="en-US" sz="1700" dirty="0">
              <a:cs typeface="Calibri"/>
            </a:endParaRPr>
          </a:p>
          <a:p>
            <a:pPr marL="0" indent="0">
              <a:lnSpc>
                <a:spcPct val="100000"/>
              </a:lnSpc>
              <a:spcAft>
                <a:spcPts val="1200"/>
              </a:spcAft>
              <a:buNone/>
            </a:pPr>
            <a:r>
              <a:rPr sz="2400" b="1">
                <a:solidFill>
                  <a:srgbClr val="3793A7"/>
                </a:solidFill>
              </a:rPr>
              <a:t>FALANTES NÃO NATIVOS DE INGLÊS</a:t>
            </a:r>
            <a:br>
              <a:rPr lang="en-US" sz="1800"/>
            </a:br>
            <a:r>
              <a:rPr lang="en-US" sz="1700" dirty="0"/>
              <a:t>BYU-Pathway </a:t>
            </a:r>
            <a:r>
              <a:rPr lang="en-US" sz="1700" err="1"/>
              <a:t>fornece</a:t>
            </a:r>
            <a:r>
              <a:rPr lang="en-US" sz="1700" dirty="0"/>
              <a:t> ferramentas para </a:t>
            </a:r>
            <a:r>
              <a:rPr lang="en-US" sz="1700" err="1"/>
              <a:t>melhorar</a:t>
            </a:r>
            <a:r>
              <a:rPr lang="en-US" sz="1700" dirty="0"/>
              <a:t> as </a:t>
            </a:r>
            <a:r>
              <a:rPr lang="en-US" sz="1700" err="1"/>
              <a:t>habilidades</a:t>
            </a:r>
            <a:r>
              <a:rPr lang="en-US" sz="1700" dirty="0"/>
              <a:t> de </a:t>
            </a:r>
            <a:r>
              <a:rPr lang="en-US" sz="1700" err="1"/>
              <a:t>inglês</a:t>
            </a:r>
            <a:r>
              <a:rPr lang="en-US" sz="1700" dirty="0"/>
              <a:t> e </a:t>
            </a:r>
            <a:r>
              <a:rPr lang="en-US" sz="1700" err="1"/>
              <a:t>comunicação</a:t>
            </a:r>
            <a:r>
              <a:rPr lang="en-US" sz="1700" dirty="0"/>
              <a:t> </a:t>
            </a:r>
            <a:r>
              <a:rPr lang="en-US" sz="1700" err="1"/>
              <a:t>profissional</a:t>
            </a:r>
            <a:r>
              <a:rPr lang="en-US" sz="1700" dirty="0"/>
              <a:t>.</a:t>
            </a:r>
            <a:endParaRPr lang="en-US" sz="1700" b="1" dirty="0"/>
          </a:p>
          <a:p>
            <a:pPr marL="0" indent="0">
              <a:lnSpc>
                <a:spcPct val="100000"/>
              </a:lnSpc>
              <a:spcAft>
                <a:spcPts val="1200"/>
              </a:spcAft>
              <a:buNone/>
            </a:pPr>
            <a:r>
              <a:rPr sz="2400" b="1">
                <a:solidFill>
                  <a:srgbClr val="3793A7"/>
                </a:solidFill>
              </a:rPr>
              <a:t>AMIGOS DA IGREJA</a:t>
            </a:r>
            <a:br>
              <a:rPr lang="en-US" sz="1800"/>
            </a:br>
            <a:r>
              <a:rPr lang="en-US" sz="1700" dirty="0"/>
              <a:t>BYU-Pathway </a:t>
            </a:r>
            <a:r>
              <a:rPr lang="en-US" sz="1700" err="1"/>
              <a:t>pode</a:t>
            </a:r>
            <a:r>
              <a:rPr lang="en-US" sz="1700" dirty="0"/>
              <a:t> </a:t>
            </a:r>
            <a:r>
              <a:rPr lang="en-US" sz="1700" err="1"/>
              <a:t>abençoar</a:t>
            </a:r>
            <a:r>
              <a:rPr lang="en-US" sz="1700" dirty="0"/>
              <a:t> </a:t>
            </a:r>
            <a:r>
              <a:rPr lang="en-US" sz="1700" err="1"/>
              <a:t>indivíduos</a:t>
            </a:r>
            <a:r>
              <a:rPr lang="en-US" sz="1700" dirty="0"/>
              <a:t> com </a:t>
            </a:r>
            <a:r>
              <a:rPr lang="en-US" sz="1700" err="1"/>
              <a:t>uma</a:t>
            </a:r>
            <a:r>
              <a:rPr lang="en-US" sz="1700" dirty="0"/>
              <a:t> </a:t>
            </a:r>
            <a:r>
              <a:rPr lang="en-US" sz="1700" err="1"/>
              <a:t>conexão</a:t>
            </a:r>
            <a:r>
              <a:rPr lang="en-US" sz="1700" dirty="0"/>
              <a:t> com a </a:t>
            </a:r>
            <a:r>
              <a:rPr lang="en-US" sz="1700" err="1"/>
              <a:t>Igreja</a:t>
            </a:r>
            <a:r>
              <a:rPr lang="en-US" sz="1700" dirty="0"/>
              <a:t>, </a:t>
            </a:r>
            <a:r>
              <a:rPr lang="en-US" sz="1700" err="1"/>
              <a:t>fornecendo</a:t>
            </a:r>
            <a:r>
              <a:rPr lang="en-US" sz="1700" dirty="0"/>
              <a:t> </a:t>
            </a:r>
            <a:r>
              <a:rPr lang="en-US" sz="1700" err="1"/>
              <a:t>uma</a:t>
            </a:r>
            <a:r>
              <a:rPr lang="en-US" sz="1700" dirty="0"/>
              <a:t> </a:t>
            </a:r>
            <a:r>
              <a:rPr lang="en-US" sz="1700" err="1"/>
              <a:t>educação</a:t>
            </a:r>
            <a:r>
              <a:rPr lang="en-US" sz="1700" dirty="0"/>
              <a:t> </a:t>
            </a:r>
            <a:r>
              <a:rPr lang="en-US" sz="1700" err="1"/>
              <a:t>universitária</a:t>
            </a:r>
            <a:r>
              <a:rPr lang="en-US" sz="1700" dirty="0"/>
              <a:t> </a:t>
            </a:r>
            <a:r>
              <a:rPr lang="en-US" sz="1700" err="1"/>
              <a:t>espiritualmente</a:t>
            </a:r>
            <a:r>
              <a:rPr lang="en-US" sz="1700" dirty="0"/>
              <a:t> </a:t>
            </a:r>
            <a:r>
              <a:rPr lang="en-US" sz="1700" err="1"/>
              <a:t>baseada</a:t>
            </a:r>
            <a:r>
              <a:rPr lang="en-US" sz="1700" dirty="0"/>
              <a:t>.</a:t>
            </a:r>
            <a:endParaRPr lang="en-US" sz="1700" dirty="0">
              <a:cs typeface="Calibri"/>
            </a:endParaRPr>
          </a:p>
        </p:txBody>
      </p:sp>
      <p:sp>
        <p:nvSpPr>
          <p:cNvPr id="8" name="Text Placeholder 1">
            <a:extLst>
              <a:ext uri="{FF2B5EF4-FFF2-40B4-BE49-F238E27FC236}">
                <a16:creationId xmlns:a16="http://schemas.microsoft.com/office/drawing/2014/main" id="{024E6555-4F67-0341-8758-449993CE3712}"/>
              </a:ext>
            </a:extLst>
          </p:cNvPr>
          <p:cNvSpPr txBox="1">
            <a:spLocks/>
          </p:cNvSpPr>
          <p:nvPr/>
        </p:nvSpPr>
        <p:spPr>
          <a:xfrm>
            <a:off x="494146" y="296906"/>
            <a:ext cx="5155738"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t>Para </a:t>
            </a:r>
            <a:r>
              <a:rPr err="1"/>
              <a:t>Líderes</a:t>
            </a:r>
            <a:r>
              <a:t> da </a:t>
            </a:r>
            <a:r>
              <a:rPr err="1"/>
              <a:t>Igreja</a:t>
            </a:r>
          </a:p>
        </p:txBody>
      </p:sp>
    </p:spTree>
    <p:extLst>
      <p:ext uri="{BB962C8B-B14F-4D97-AF65-F5344CB8AC3E}">
        <p14:creationId xmlns:p14="http://schemas.microsoft.com/office/powerpoint/2010/main" val="218036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7503E13-8F64-F742-93FC-AB35E05CB03B}"/>
              </a:ext>
            </a:extLst>
          </p:cNvPr>
          <p:cNvPicPr>
            <a:picLocks noGrp="1" noChangeAspect="1"/>
          </p:cNvPicPr>
          <p:nvPr>
            <p:ph type="pic" idx="1"/>
          </p:nvPr>
        </p:nvPicPr>
        <p:blipFill>
          <a:blip r:embed="rId4" cstate="email">
            <a:extLst>
              <a:ext uri="{28A0092B-C50C-407E-A947-70E740481C1C}">
                <a14:useLocalDpi xmlns:a14="http://schemas.microsoft.com/office/drawing/2010/main"/>
              </a:ext>
            </a:extLst>
          </a:blip>
          <a:srcRect/>
          <a:stretch>
            <a:fillRect/>
          </a:stretch>
        </p:blipFill>
        <p:spPr/>
      </p:pic>
      <p:sp>
        <p:nvSpPr>
          <p:cNvPr id="4" name="Slide Number Placeholder 3">
            <a:extLst>
              <a:ext uri="{FF2B5EF4-FFF2-40B4-BE49-F238E27FC236}">
                <a16:creationId xmlns:a16="http://schemas.microsoft.com/office/drawing/2014/main" id="{AE6F4071-8806-6945-8B92-7B7F1DFFF373}"/>
              </a:ext>
            </a:extLst>
          </p:cNvPr>
          <p:cNvSpPr>
            <a:spLocks noGrp="1"/>
          </p:cNvSpPr>
          <p:nvPr>
            <p:ph type="sldNum" sz="quarter" idx="4"/>
          </p:nvPr>
        </p:nvSpPr>
        <p:spPr/>
        <p:txBody>
          <a:bodyPr/>
          <a:lstStyle/>
          <a:p>
            <a:fld id="{8893C2FB-EF86-FD49-89EB-659751C15892}" type="slidenum">
              <a:rPr lang="en-US" dirty="0" smtClean="0"/>
              <a:t>35</a:t>
            </a:fld>
            <a:endParaRPr lang="en-US"/>
          </a:p>
        </p:txBody>
      </p:sp>
      <p:pic>
        <p:nvPicPr>
          <p:cNvPr id="7" name="Picture 6" descr="A person in a suit smiling  Description automatically generated with medium confidence">
            <a:extLst>
              <a:ext uri="{FF2B5EF4-FFF2-40B4-BE49-F238E27FC236}">
                <a16:creationId xmlns:a16="http://schemas.microsoft.com/office/drawing/2014/main" id="{CDCE9751-9EAE-4A9D-1EB3-AB3FC4AEA01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1743" y="963935"/>
            <a:ext cx="3534234" cy="4930128"/>
          </a:xfrm>
          <a:prstGeom prst="rect">
            <a:avLst/>
          </a:prstGeom>
        </p:spPr>
      </p:pic>
      <p:sp>
        <p:nvSpPr>
          <p:cNvPr id="9" name="Rectangle 8">
            <a:extLst>
              <a:ext uri="{FF2B5EF4-FFF2-40B4-BE49-F238E27FC236}">
                <a16:creationId xmlns:a16="http://schemas.microsoft.com/office/drawing/2014/main" id="{3542E89D-28C6-26AA-5B48-03F7245C11D6}"/>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 name="Picture 9" descr="Text  Description automatically generated">
            <a:extLst>
              <a:ext uri="{FF2B5EF4-FFF2-40B4-BE49-F238E27FC236}">
                <a16:creationId xmlns:a16="http://schemas.microsoft.com/office/drawing/2014/main" id="{5374F469-08AA-51F7-2DCF-F1ADEA5B2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8" name="TextBox 7">
            <a:extLst>
              <a:ext uri="{FF2B5EF4-FFF2-40B4-BE49-F238E27FC236}">
                <a16:creationId xmlns:a16="http://schemas.microsoft.com/office/drawing/2014/main" id="{04B0412D-7645-E7F5-6B50-3BE275894CA4}"/>
              </a:ext>
            </a:extLst>
          </p:cNvPr>
          <p:cNvSpPr txBox="1"/>
          <p:nvPr/>
        </p:nvSpPr>
        <p:spPr>
          <a:xfrm>
            <a:off x="5163503" y="1691802"/>
            <a:ext cx="6026581" cy="3539430"/>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a:t>
            </a:r>
            <a:r>
              <a:rPr err="1"/>
              <a:t>Considero</a:t>
            </a:r>
            <a:r>
              <a:t> a </a:t>
            </a:r>
            <a:r>
              <a:rPr err="1"/>
              <a:t>criação</a:t>
            </a:r>
            <a:r>
              <a:t> da BYU-Pathway Worldwide o </a:t>
            </a:r>
            <a:r>
              <a:rPr err="1"/>
              <a:t>desenvolvimento</a:t>
            </a:r>
            <a:r>
              <a:t> </a:t>
            </a:r>
            <a:r>
              <a:rPr err="1"/>
              <a:t>mais</a:t>
            </a:r>
            <a:r>
              <a:t> </a:t>
            </a:r>
            <a:r>
              <a:rPr err="1"/>
              <a:t>importante</a:t>
            </a:r>
            <a:r>
              <a:t> e de </a:t>
            </a:r>
            <a:r>
              <a:rPr err="1"/>
              <a:t>maior</a:t>
            </a:r>
            <a:r>
              <a:t> </a:t>
            </a:r>
            <a:r>
              <a:rPr err="1"/>
              <a:t>alcance</a:t>
            </a:r>
            <a:r>
              <a:t> no Sistema </a:t>
            </a:r>
            <a:r>
              <a:rPr err="1"/>
              <a:t>Educacional</a:t>
            </a:r>
            <a:r>
              <a:t> da </a:t>
            </a:r>
            <a:r>
              <a:rPr err="1"/>
              <a:t>Igreja</a:t>
            </a:r>
            <a:r>
              <a:t> </a:t>
            </a:r>
            <a:r>
              <a:rPr err="1"/>
              <a:t>desde</a:t>
            </a:r>
            <a:r>
              <a:t> a </a:t>
            </a:r>
            <a:r>
              <a:rPr err="1"/>
              <a:t>criação</a:t>
            </a:r>
            <a:r>
              <a:t> dos </a:t>
            </a:r>
            <a:r>
              <a:rPr err="1"/>
              <a:t>Seminários</a:t>
            </a:r>
            <a:r>
              <a:t> e </a:t>
            </a:r>
            <a:r>
              <a:rPr err="1"/>
              <a:t>Institutos</a:t>
            </a:r>
            <a:r>
              <a:t> de </a:t>
            </a:r>
            <a:r>
              <a:rPr err="1"/>
              <a:t>Religião</a:t>
            </a:r>
            <a:r>
              <a:t> </a:t>
            </a:r>
            <a:r>
              <a:rPr err="1"/>
              <a:t>há</a:t>
            </a:r>
            <a:r>
              <a:t> </a:t>
            </a:r>
            <a:r>
              <a:rPr err="1"/>
              <a:t>mais</a:t>
            </a:r>
            <a:r>
              <a:t> de um </a:t>
            </a:r>
            <a:r>
              <a:rPr err="1"/>
              <a:t>século</a:t>
            </a:r>
            <a:r>
              <a:t>."</a:t>
            </a:r>
            <a:endParaRPr lang="en-US">
              <a:latin typeface="Calibri Light"/>
            </a:endParaRPr>
          </a:p>
        </p:txBody>
      </p:sp>
      <p:sp>
        <p:nvSpPr>
          <p:cNvPr id="11" name="TextBox 10">
            <a:extLst>
              <a:ext uri="{FF2B5EF4-FFF2-40B4-BE49-F238E27FC236}">
                <a16:creationId xmlns:a16="http://schemas.microsoft.com/office/drawing/2014/main" id="{6D914A09-610E-2F5B-D278-DA9A86C102E6}"/>
              </a:ext>
            </a:extLst>
          </p:cNvPr>
          <p:cNvSpPr txBox="1"/>
          <p:nvPr/>
        </p:nvSpPr>
        <p:spPr>
          <a:xfrm>
            <a:off x="5363671" y="5104725"/>
            <a:ext cx="5622616" cy="892552"/>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a:defRPr sz="2000">
                <a:solidFill>
                  <a:srgbClr val="656365"/>
                </a:solidFill>
                <a:latin typeface="Calibri Light"/>
                <a:ea typeface="Calibri Light"/>
                <a:cs typeface="Calibri Light"/>
              </a:defRPr>
            </a:pPr>
            <a:r>
              <a:t>ÉLDER JEFFREY R. HOLLAND</a:t>
            </a:r>
          </a:p>
          <a:p>
            <a:pPr>
              <a:defRPr sz="1600" i="1">
                <a:solidFill>
                  <a:srgbClr val="656365"/>
                </a:solidFill>
                <a:latin typeface="Calibri Light"/>
                <a:ea typeface="Calibri Light"/>
                <a:cs typeface="Calibri Light"/>
              </a:defRPr>
            </a:pPr>
            <a:r>
              <a:t>"Inauguration Remarks" (BYU-Pathway Worldwide Inauguration, 10 de </a:t>
            </a:r>
            <a:r>
              <a:rPr err="1"/>
              <a:t>março</a:t>
            </a:r>
            <a:r>
              <a:t> de 2022), byupathway.org/speeches</a:t>
            </a:r>
            <a:endParaRPr lang="en-US" sz="1600" i="1">
              <a:latin typeface="Calibri Light"/>
              <a:ea typeface="Calibri Light"/>
              <a:cs typeface="Calibri Light"/>
            </a:endParaRPr>
          </a:p>
        </p:txBody>
      </p:sp>
    </p:spTree>
    <p:extLst>
      <p:ext uri="{BB962C8B-B14F-4D97-AF65-F5344CB8AC3E}">
        <p14:creationId xmlns:p14="http://schemas.microsoft.com/office/powerpoint/2010/main" val="197891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5A964E-2B82-7742-809E-9CBF786AEDB8}"/>
              </a:ext>
            </a:extLst>
          </p:cNvPr>
          <p:cNvSpPr/>
          <p:nvPr/>
        </p:nvSpPr>
        <p:spPr>
          <a:xfrm>
            <a:off x="-163286" y="-174171"/>
            <a:ext cx="12475029" cy="7162800"/>
          </a:xfrm>
          <a:prstGeom prst="rect">
            <a:avLst/>
          </a:prstGeom>
          <a:solidFill>
            <a:srgbClr val="69B34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26" name="Picture 2" descr="A green and white logo&#10;&#10;Description automatically generated">
            <a:extLst>
              <a:ext uri="{FF2B5EF4-FFF2-40B4-BE49-F238E27FC236}">
                <a16:creationId xmlns:a16="http://schemas.microsoft.com/office/drawing/2014/main" id="{DE5DFED8-D98A-5E4C-A3FB-FF0EBB33E8D0}"/>
              </a:ext>
            </a:extLst>
          </p:cNvPr>
          <p:cNvPicPr>
            <a:picLocks noChangeAspect="1" noChangeArrowheads="1"/>
          </p:cNvPicPr>
          <p:nvPr/>
        </p:nvPicPr>
        <p:blipFill>
          <a:blip r:embed="rId2"/>
          <a:srcRect/>
          <a:stretch>
            <a:fillRect/>
          </a:stretch>
        </p:blipFill>
        <p:spPr bwMode="auto">
          <a:xfrm>
            <a:off x="1592887" y="909930"/>
            <a:ext cx="8961403" cy="503901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7B664D1D-D03A-4845-A891-2A6EF834FC32}"/>
              </a:ext>
            </a:extLst>
          </p:cNvPr>
          <p:cNvSpPr>
            <a:spLocks noGrp="1"/>
          </p:cNvSpPr>
          <p:nvPr>
            <p:ph type="sldNum" sz="quarter" idx="12"/>
          </p:nvPr>
        </p:nvSpPr>
        <p:spPr/>
        <p:txBody>
          <a:bodyPr/>
          <a:lstStyle/>
          <a:p>
            <a:fld id="{C6665974-E1B7-A94A-85EF-DE1149FD678C}" type="slidenum">
              <a:rPr lang="en-US" dirty="0" smtClean="0"/>
              <a:t>36</a:t>
            </a:fld>
            <a:endParaRPr lang="en-US"/>
          </a:p>
        </p:txBody>
      </p:sp>
    </p:spTree>
    <p:extLst>
      <p:ext uri="{BB962C8B-B14F-4D97-AF65-F5344CB8AC3E}">
        <p14:creationId xmlns:p14="http://schemas.microsoft.com/office/powerpoint/2010/main" val="30513880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5B2010-AA1E-E049-8D25-A3044190CEF1}"/>
              </a:ext>
            </a:extLst>
          </p:cNvPr>
          <p:cNvSpPr>
            <a:spLocks noGrp="1"/>
          </p:cNvSpPr>
          <p:nvPr>
            <p:ph type="body" sz="quarter" idx="15"/>
          </p:nvPr>
        </p:nvSpPr>
        <p:spPr>
          <a:xfrm>
            <a:off x="3853470" y="273468"/>
            <a:ext cx="7852978" cy="456363"/>
          </a:xfrm>
        </p:spPr>
        <p:txBody>
          <a:bodyPr/>
          <a:lstStyle/>
          <a:p>
            <a:pPr>
              <a:defRPr sz="4400">
                <a:latin typeface="+mj-lt"/>
              </a:defRPr>
            </a:pPr>
            <a:r>
              <a:t>O que é o </a:t>
            </a:r>
            <a:r>
              <a:rPr err="1"/>
              <a:t>EnglishConnect</a:t>
            </a:r>
            <a:r>
              <a:t>?</a:t>
            </a:r>
          </a:p>
        </p:txBody>
      </p:sp>
      <p:sp>
        <p:nvSpPr>
          <p:cNvPr id="3" name="Content Placeholder 2">
            <a:extLst>
              <a:ext uri="{FF2B5EF4-FFF2-40B4-BE49-F238E27FC236}">
                <a16:creationId xmlns:a16="http://schemas.microsoft.com/office/drawing/2014/main" id="{D29BDC45-E8FF-3C47-9619-A51C86E2259F}"/>
              </a:ext>
            </a:extLst>
          </p:cNvPr>
          <p:cNvSpPr>
            <a:spLocks noGrp="1"/>
          </p:cNvSpPr>
          <p:nvPr>
            <p:ph sz="quarter" idx="22"/>
          </p:nvPr>
        </p:nvSpPr>
        <p:spPr>
          <a:xfrm>
            <a:off x="1205837" y="1444599"/>
            <a:ext cx="9783925" cy="1223425"/>
          </a:xfrm>
        </p:spPr>
        <p:txBody>
          <a:bodyPr anchor="t">
            <a:noAutofit/>
          </a:bodyPr>
          <a:lstStyle/>
          <a:p>
            <a:pPr marL="0" indent="0" algn="ctr">
              <a:lnSpc>
                <a:spcPct val="110000"/>
              </a:lnSpc>
              <a:spcAft>
                <a:spcPts val="600"/>
              </a:spcAft>
              <a:buNone/>
            </a:pPr>
            <a:r>
              <a:rPr err="1"/>
              <a:t>EnglishConnect</a:t>
            </a:r>
            <a:r>
              <a:t> é um </a:t>
            </a:r>
            <a:r>
              <a:rPr err="1"/>
              <a:t>programa</a:t>
            </a:r>
            <a:r>
              <a:t> de </a:t>
            </a:r>
            <a:r>
              <a:rPr err="1"/>
              <a:t>aprendizagem</a:t>
            </a:r>
            <a:r>
              <a:t> de </a:t>
            </a:r>
            <a:r>
              <a:rPr err="1"/>
              <a:t>inglês</a:t>
            </a:r>
            <a:r>
              <a:t> </a:t>
            </a:r>
            <a:r>
              <a:rPr err="1"/>
              <a:t>fornecido</a:t>
            </a:r>
            <a:r>
              <a:t> pela </a:t>
            </a:r>
            <a:r>
              <a:rPr err="1"/>
              <a:t>Igreja</a:t>
            </a:r>
            <a:r>
              <a:t> de Jesus Cristo dos Santos dos </a:t>
            </a:r>
            <a:r>
              <a:rPr err="1"/>
              <a:t>Últimos</a:t>
            </a:r>
            <a:r>
              <a:t> Dias.</a:t>
            </a:r>
          </a:p>
          <a:p>
            <a:pPr marL="0" indent="0" algn="ctr">
              <a:lnSpc>
                <a:spcPct val="110000"/>
              </a:lnSpc>
              <a:spcAft>
                <a:spcPts val="600"/>
              </a:spcAft>
              <a:buNone/>
            </a:pPr>
            <a:r>
              <a:t>Seu </a:t>
            </a:r>
            <a:r>
              <a:rPr err="1"/>
              <a:t>objetivo</a:t>
            </a:r>
            <a:r>
              <a:t> é </a:t>
            </a:r>
            <a:r>
              <a:rPr err="1"/>
              <a:t>ajudar</a:t>
            </a:r>
            <a:r>
              <a:t> </a:t>
            </a:r>
            <a:r>
              <a:rPr err="1"/>
              <a:t>os</a:t>
            </a:r>
            <a:r>
              <a:t> </a:t>
            </a:r>
            <a:r>
              <a:rPr err="1"/>
              <a:t>alunos</a:t>
            </a:r>
            <a:r>
              <a:t> a </a:t>
            </a:r>
            <a:r>
              <a:rPr b="1" err="1">
                <a:solidFill>
                  <a:srgbClr val="69B340"/>
                </a:solidFill>
              </a:rPr>
              <a:t>desenvolver</a:t>
            </a:r>
            <a:r>
              <a:rPr b="1">
                <a:solidFill>
                  <a:srgbClr val="69B340"/>
                </a:solidFill>
              </a:rPr>
              <a:t> </a:t>
            </a:r>
            <a:r>
              <a:rPr b="1" err="1">
                <a:solidFill>
                  <a:srgbClr val="69B340"/>
                </a:solidFill>
              </a:rPr>
              <a:t>habilidades</a:t>
            </a:r>
            <a:r>
              <a:rPr b="1">
                <a:solidFill>
                  <a:srgbClr val="69B340"/>
                </a:solidFill>
              </a:rPr>
              <a:t> de </a:t>
            </a:r>
            <a:r>
              <a:rPr b="1" err="1">
                <a:solidFill>
                  <a:srgbClr val="69B340"/>
                </a:solidFill>
              </a:rPr>
              <a:t>inglês</a:t>
            </a:r>
            <a:r>
              <a:rPr b="1">
                <a:solidFill>
                  <a:srgbClr val="69B340"/>
                </a:solidFill>
              </a:rPr>
              <a:t> </a:t>
            </a:r>
            <a:r>
              <a:rPr b="1" err="1">
                <a:solidFill>
                  <a:srgbClr val="69B340"/>
                </a:solidFill>
              </a:rPr>
              <a:t>em</a:t>
            </a:r>
            <a:r>
              <a:rPr b="1">
                <a:solidFill>
                  <a:srgbClr val="69B340"/>
                </a:solidFill>
              </a:rPr>
              <a:t> um </a:t>
            </a:r>
            <a:r>
              <a:rPr b="1" err="1">
                <a:solidFill>
                  <a:srgbClr val="69B340"/>
                </a:solidFill>
              </a:rPr>
              <a:t>ambiente</a:t>
            </a:r>
            <a:r>
              <a:rPr b="1">
                <a:solidFill>
                  <a:srgbClr val="69B340"/>
                </a:solidFill>
              </a:rPr>
              <a:t> de </a:t>
            </a:r>
            <a:r>
              <a:rPr b="1" err="1">
                <a:solidFill>
                  <a:srgbClr val="69B340"/>
                </a:solidFill>
              </a:rPr>
              <a:t>fé</a:t>
            </a:r>
            <a:r>
              <a:rPr b="1">
                <a:solidFill>
                  <a:srgbClr val="69B340"/>
                </a:solidFill>
              </a:rPr>
              <a:t>, </a:t>
            </a:r>
            <a:r>
              <a:rPr b="1" err="1">
                <a:solidFill>
                  <a:srgbClr val="69B340"/>
                </a:solidFill>
              </a:rPr>
              <a:t>comunhão</a:t>
            </a:r>
            <a:r>
              <a:rPr b="1">
                <a:solidFill>
                  <a:srgbClr val="69B340"/>
                </a:solidFill>
              </a:rPr>
              <a:t> e </a:t>
            </a:r>
            <a:r>
              <a:rPr b="1" err="1">
                <a:solidFill>
                  <a:srgbClr val="69B340"/>
                </a:solidFill>
              </a:rPr>
              <a:t>crescimento</a:t>
            </a:r>
            <a:r>
              <a:rPr b="1">
                <a:solidFill>
                  <a:srgbClr val="69B340"/>
                </a:solidFill>
              </a:rPr>
              <a:t>. </a:t>
            </a:r>
            <a:r>
              <a:rPr>
                <a:cs typeface="Calibri Light"/>
              </a:rPr>
              <a:t>O </a:t>
            </a:r>
            <a:r>
              <a:rPr err="1">
                <a:cs typeface="Calibri Light"/>
              </a:rPr>
              <a:t>EnglishConnect</a:t>
            </a:r>
            <a:r>
              <a:rPr>
                <a:cs typeface="Calibri Light"/>
              </a:rPr>
              <a:t> </a:t>
            </a:r>
            <a:r>
              <a:rPr err="1">
                <a:cs typeface="Calibri Light"/>
              </a:rPr>
              <a:t>ajuda</a:t>
            </a:r>
            <a:r>
              <a:rPr>
                <a:cs typeface="Calibri Light"/>
              </a:rPr>
              <a:t> </a:t>
            </a:r>
            <a:r>
              <a:rPr err="1">
                <a:cs typeface="Calibri Light"/>
              </a:rPr>
              <a:t>os</a:t>
            </a:r>
            <a:r>
              <a:rPr>
                <a:cs typeface="Calibri Light"/>
              </a:rPr>
              <a:t> </a:t>
            </a:r>
            <a:r>
              <a:rPr err="1">
                <a:cs typeface="Calibri Light"/>
              </a:rPr>
              <a:t>alunos</a:t>
            </a:r>
            <a:r>
              <a:rPr>
                <a:cs typeface="Calibri Light"/>
              </a:rPr>
              <a:t> a:</a:t>
            </a:r>
            <a:endParaRPr lang="en-US">
              <a:ea typeface="Calibri"/>
              <a:cs typeface="Calibri Light"/>
            </a:endParaRPr>
          </a:p>
        </p:txBody>
      </p:sp>
      <p:sp>
        <p:nvSpPr>
          <p:cNvPr id="6" name="TextBox 5">
            <a:extLst>
              <a:ext uri="{FF2B5EF4-FFF2-40B4-BE49-F238E27FC236}">
                <a16:creationId xmlns:a16="http://schemas.microsoft.com/office/drawing/2014/main" id="{EC4FCF43-E4C8-D64C-86C6-C8705D0B98CC}"/>
              </a:ext>
            </a:extLst>
          </p:cNvPr>
          <p:cNvSpPr txBox="1"/>
          <p:nvPr/>
        </p:nvSpPr>
        <p:spPr>
          <a:xfrm>
            <a:off x="393525" y="5884800"/>
            <a:ext cx="11342288" cy="400110"/>
          </a:xfrm>
          <a:prstGeom prst="rect">
            <a:avLst/>
          </a:prstGeom>
          <a:noFill/>
        </p:spPr>
        <p:txBody>
          <a:bodyPr wrap="square" lIns="91440" tIns="45720" rIns="91440" bIns="45720" anchor="t">
            <a:spAutoFit/>
          </a:bodyPr>
          <a:lstStyle/>
          <a:p>
            <a:pPr algn="ctr">
              <a:defRPr sz="2200"/>
            </a:pPr>
            <a:r>
              <a:rPr sz="2000" dirty="0" err="1">
                <a:solidFill>
                  <a:srgbClr val="313031"/>
                </a:solidFill>
              </a:rPr>
              <a:t>Aumentar</a:t>
            </a:r>
            <a:r>
              <a:rPr sz="2000" dirty="0">
                <a:solidFill>
                  <a:srgbClr val="313031"/>
                </a:solidFill>
              </a:rPr>
              <a:t> a </a:t>
            </a:r>
            <a:r>
              <a:rPr sz="2000" dirty="0" err="1">
                <a:solidFill>
                  <a:srgbClr val="313031"/>
                </a:solidFill>
              </a:rPr>
              <a:t>proficiência</a:t>
            </a:r>
            <a:r>
              <a:rPr sz="2000" dirty="0">
                <a:solidFill>
                  <a:srgbClr val="313031"/>
                </a:solidFill>
              </a:rPr>
              <a:t> </a:t>
            </a:r>
            <a:r>
              <a:rPr sz="2000" dirty="0" err="1">
                <a:solidFill>
                  <a:srgbClr val="313031"/>
                </a:solidFill>
              </a:rPr>
              <a:t>em</a:t>
            </a:r>
            <a:r>
              <a:rPr sz="2000" dirty="0">
                <a:solidFill>
                  <a:srgbClr val="313031"/>
                </a:solidFill>
              </a:rPr>
              <a:t> </a:t>
            </a:r>
            <a:r>
              <a:rPr sz="2000" dirty="0" err="1">
                <a:solidFill>
                  <a:srgbClr val="313031"/>
                </a:solidFill>
              </a:rPr>
              <a:t>inglês</a:t>
            </a:r>
            <a:r>
              <a:rPr sz="2000" dirty="0">
                <a:solidFill>
                  <a:srgbClr val="313031"/>
                </a:solidFill>
              </a:rPr>
              <a:t> </a:t>
            </a:r>
            <a:r>
              <a:rPr sz="2000" dirty="0" err="1">
                <a:solidFill>
                  <a:srgbClr val="313031"/>
                </a:solidFill>
              </a:rPr>
              <a:t>pode</a:t>
            </a:r>
            <a:r>
              <a:rPr sz="2000" dirty="0">
                <a:solidFill>
                  <a:srgbClr val="313031"/>
                </a:solidFill>
              </a:rPr>
              <a:t> </a:t>
            </a:r>
            <a:r>
              <a:rPr sz="2000" b="1" dirty="0" err="1">
                <a:solidFill>
                  <a:srgbClr val="69B340"/>
                </a:solidFill>
              </a:rPr>
              <a:t>expandir</a:t>
            </a:r>
            <a:r>
              <a:rPr sz="2000" b="1" dirty="0">
                <a:solidFill>
                  <a:srgbClr val="69B340"/>
                </a:solidFill>
              </a:rPr>
              <a:t> as </a:t>
            </a:r>
            <a:r>
              <a:rPr sz="2000" b="1" dirty="0" err="1">
                <a:solidFill>
                  <a:srgbClr val="69B340"/>
                </a:solidFill>
              </a:rPr>
              <a:t>oportunidades</a:t>
            </a:r>
            <a:r>
              <a:rPr sz="2000" b="1" dirty="0">
                <a:solidFill>
                  <a:srgbClr val="69B340"/>
                </a:solidFill>
              </a:rPr>
              <a:t> de </a:t>
            </a:r>
            <a:r>
              <a:rPr sz="2000" b="1" dirty="0" err="1">
                <a:solidFill>
                  <a:srgbClr val="69B340"/>
                </a:solidFill>
              </a:rPr>
              <a:t>educação</a:t>
            </a:r>
            <a:r>
              <a:rPr sz="2000" b="1" dirty="0">
                <a:solidFill>
                  <a:srgbClr val="69B340"/>
                </a:solidFill>
              </a:rPr>
              <a:t>, </a:t>
            </a:r>
            <a:r>
              <a:rPr sz="2000" b="1" dirty="0" err="1">
                <a:solidFill>
                  <a:srgbClr val="69B340"/>
                </a:solidFill>
              </a:rPr>
              <a:t>emprego</a:t>
            </a:r>
            <a:r>
              <a:rPr sz="2000" b="1" dirty="0">
                <a:solidFill>
                  <a:srgbClr val="69B340"/>
                </a:solidFill>
              </a:rPr>
              <a:t> e </a:t>
            </a:r>
            <a:r>
              <a:rPr sz="2000" b="1" dirty="0" err="1">
                <a:solidFill>
                  <a:srgbClr val="69B340"/>
                </a:solidFill>
              </a:rPr>
              <a:t>serviços</a:t>
            </a:r>
            <a:r>
              <a:rPr sz="2000" dirty="0"/>
              <a:t>. </a:t>
            </a:r>
            <a:r>
              <a:rPr sz="2000" dirty="0">
                <a:solidFill>
                  <a:srgbClr val="A3C23C"/>
                </a:solidFill>
              </a:rPr>
              <a:t>​</a:t>
            </a:r>
            <a:endParaRPr lang="en-US" sz="2000" dirty="0">
              <a:solidFill>
                <a:srgbClr val="A3C23C"/>
              </a:solidFill>
              <a:cs typeface="Calibri"/>
            </a:endParaRPr>
          </a:p>
        </p:txBody>
      </p:sp>
      <p:sp>
        <p:nvSpPr>
          <p:cNvPr id="7" name="Slide Number Placeholder 6">
            <a:extLst>
              <a:ext uri="{FF2B5EF4-FFF2-40B4-BE49-F238E27FC236}">
                <a16:creationId xmlns:a16="http://schemas.microsoft.com/office/drawing/2014/main" id="{C42EC1AA-8277-3B4B-BB51-1DB80275D199}"/>
              </a:ext>
            </a:extLst>
          </p:cNvPr>
          <p:cNvSpPr>
            <a:spLocks noGrp="1"/>
          </p:cNvSpPr>
          <p:nvPr>
            <p:ph type="sldNum" sz="quarter" idx="4"/>
          </p:nvPr>
        </p:nvSpPr>
        <p:spPr/>
        <p:txBody>
          <a:bodyPr/>
          <a:lstStyle/>
          <a:p>
            <a:fld id="{8893C2FB-EF86-FD49-89EB-659751C15892}" type="slidenum">
              <a:rPr lang="en-US" dirty="0" smtClean="0"/>
              <a:t>37</a:t>
            </a:fld>
            <a:endParaRPr lang="en-US"/>
          </a:p>
        </p:txBody>
      </p:sp>
      <p:sp>
        <p:nvSpPr>
          <p:cNvPr id="19" name="Rectangle 18">
            <a:extLst>
              <a:ext uri="{FF2B5EF4-FFF2-40B4-BE49-F238E27FC236}">
                <a16:creationId xmlns:a16="http://schemas.microsoft.com/office/drawing/2014/main" id="{FAC10C53-CE1E-C07C-F017-8AB8465A632A}"/>
              </a:ext>
            </a:extLst>
          </p:cNvPr>
          <p:cNvSpPr/>
          <p:nvPr/>
        </p:nvSpPr>
        <p:spPr>
          <a:xfrm>
            <a:off x="0" y="-1"/>
            <a:ext cx="3563007" cy="1174139"/>
          </a:xfrm>
          <a:prstGeom prst="rect">
            <a:avLst/>
          </a:prstGeom>
          <a:solidFill>
            <a:srgbClr val="69B3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22" name="Picture 21" descr="Logo  Description automatically generated">
            <a:extLst>
              <a:ext uri="{FF2B5EF4-FFF2-40B4-BE49-F238E27FC236}">
                <a16:creationId xmlns:a16="http://schemas.microsoft.com/office/drawing/2014/main" id="{B376F3D2-7ED1-7B40-CA0B-45384B3D64D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230767"/>
            <a:ext cx="3563006" cy="712601"/>
          </a:xfrm>
          <a:prstGeom prst="rect">
            <a:avLst/>
          </a:prstGeom>
        </p:spPr>
      </p:pic>
      <p:pic>
        <p:nvPicPr>
          <p:cNvPr id="13" name="Picture 12" descr="Icon  Description automatically generated">
            <a:extLst>
              <a:ext uri="{FF2B5EF4-FFF2-40B4-BE49-F238E27FC236}">
                <a16:creationId xmlns:a16="http://schemas.microsoft.com/office/drawing/2014/main" id="{B91B2496-EC52-45F4-08D6-0ADC0A2ABE5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65894" y="3516927"/>
            <a:ext cx="1461339" cy="1461339"/>
          </a:xfrm>
          <a:prstGeom prst="rect">
            <a:avLst/>
          </a:prstGeom>
        </p:spPr>
      </p:pic>
      <p:sp>
        <p:nvSpPr>
          <p:cNvPr id="17" name="Text Placeholder 1">
            <a:extLst>
              <a:ext uri="{FF2B5EF4-FFF2-40B4-BE49-F238E27FC236}">
                <a16:creationId xmlns:a16="http://schemas.microsoft.com/office/drawing/2014/main" id="{30BBF45B-756D-2663-3D20-DC7F4904A854}"/>
              </a:ext>
            </a:extLst>
          </p:cNvPr>
          <p:cNvSpPr txBox="1">
            <a:spLocks/>
          </p:cNvSpPr>
          <p:nvPr/>
        </p:nvSpPr>
        <p:spPr>
          <a:xfrm>
            <a:off x="4963075" y="4938774"/>
            <a:ext cx="1959613" cy="702487"/>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rPr err="1"/>
              <a:t>Tornar</a:t>
            </a:r>
            <a:r>
              <a:t>-se um </a:t>
            </a:r>
            <a:r>
              <a:rPr err="1"/>
              <a:t>aluno</a:t>
            </a:r>
            <a:r>
              <a:t> </a:t>
            </a:r>
            <a:r>
              <a:rPr err="1"/>
              <a:t>capaz</a:t>
            </a:r>
          </a:p>
        </p:txBody>
      </p:sp>
      <p:pic>
        <p:nvPicPr>
          <p:cNvPr id="27" name="Picture 26" descr="Icon  Description automatically generated">
            <a:extLst>
              <a:ext uri="{FF2B5EF4-FFF2-40B4-BE49-F238E27FC236}">
                <a16:creationId xmlns:a16="http://schemas.microsoft.com/office/drawing/2014/main" id="{4BAF6CAB-4705-4731-9003-F1DFBA8F224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15203" y="3491472"/>
            <a:ext cx="1329728" cy="1329728"/>
          </a:xfrm>
          <a:prstGeom prst="rect">
            <a:avLst/>
          </a:prstGeom>
        </p:spPr>
      </p:pic>
      <p:pic>
        <p:nvPicPr>
          <p:cNvPr id="29" name="Picture 28" descr="Text, icon  Description automatically generated with medium confidence">
            <a:extLst>
              <a:ext uri="{FF2B5EF4-FFF2-40B4-BE49-F238E27FC236}">
                <a16:creationId xmlns:a16="http://schemas.microsoft.com/office/drawing/2014/main" id="{2B9A1C7A-A0F1-EB7C-34C1-1E59B2DCD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23477" y="3493785"/>
            <a:ext cx="1558849" cy="1558849"/>
          </a:xfrm>
          <a:prstGeom prst="rect">
            <a:avLst/>
          </a:prstGeom>
        </p:spPr>
      </p:pic>
      <p:sp>
        <p:nvSpPr>
          <p:cNvPr id="31" name="Text Placeholder 1">
            <a:extLst>
              <a:ext uri="{FF2B5EF4-FFF2-40B4-BE49-F238E27FC236}">
                <a16:creationId xmlns:a16="http://schemas.microsoft.com/office/drawing/2014/main" id="{CE6A8DC2-A2DE-657D-9DFC-C4720DE07321}"/>
              </a:ext>
            </a:extLst>
          </p:cNvPr>
          <p:cNvSpPr txBox="1">
            <a:spLocks/>
          </p:cNvSpPr>
          <p:nvPr/>
        </p:nvSpPr>
        <p:spPr>
          <a:xfrm>
            <a:off x="7952403" y="4938774"/>
            <a:ext cx="2502683" cy="702487"/>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rPr err="1"/>
              <a:t>Desenvolver</a:t>
            </a:r>
            <a:r>
              <a:t> </a:t>
            </a:r>
            <a:r>
              <a:rPr err="1"/>
              <a:t>habilidades</a:t>
            </a:r>
            <a:r>
              <a:t> </a:t>
            </a:r>
            <a:r>
              <a:rPr err="1"/>
              <a:t>em</a:t>
            </a:r>
            <a:r>
              <a:t> </a:t>
            </a:r>
            <a:r>
              <a:rPr err="1"/>
              <a:t>inglês</a:t>
            </a:r>
          </a:p>
        </p:txBody>
      </p:sp>
      <p:sp>
        <p:nvSpPr>
          <p:cNvPr id="32" name="Text Placeholder 1">
            <a:extLst>
              <a:ext uri="{FF2B5EF4-FFF2-40B4-BE49-F238E27FC236}">
                <a16:creationId xmlns:a16="http://schemas.microsoft.com/office/drawing/2014/main" id="{B2BF4912-441D-3A95-0717-2E3D95E4072A}"/>
              </a:ext>
            </a:extLst>
          </p:cNvPr>
          <p:cNvSpPr txBox="1">
            <a:spLocks/>
          </p:cNvSpPr>
          <p:nvPr/>
        </p:nvSpPr>
        <p:spPr>
          <a:xfrm>
            <a:off x="1800261" y="4938774"/>
            <a:ext cx="1959613" cy="702487"/>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rPr err="1"/>
              <a:t>Aumentar</a:t>
            </a:r>
            <a:r>
              <a:t> a Fé </a:t>
            </a:r>
            <a:r>
              <a:rPr err="1"/>
              <a:t>em</a:t>
            </a:r>
            <a:r>
              <a:t> Jesus Cristo</a:t>
            </a:r>
          </a:p>
        </p:txBody>
      </p:sp>
    </p:spTree>
    <p:extLst>
      <p:ext uri="{BB962C8B-B14F-4D97-AF65-F5344CB8AC3E}">
        <p14:creationId xmlns:p14="http://schemas.microsoft.com/office/powerpoint/2010/main" val="307215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403070-DEEB-8143-B9ED-F146907EEFC3}"/>
              </a:ext>
            </a:extLst>
          </p:cNvPr>
          <p:cNvSpPr txBox="1"/>
          <p:nvPr/>
        </p:nvSpPr>
        <p:spPr>
          <a:xfrm>
            <a:off x="1672339" y="3796049"/>
            <a:ext cx="8855891" cy="707886"/>
          </a:xfrm>
          <a:prstGeom prst="rect">
            <a:avLst/>
          </a:prstGeom>
          <a:noFill/>
        </p:spPr>
        <p:txBody>
          <a:bodyPr wrap="square" lIns="91440" tIns="45720" rIns="91440" bIns="45720" anchor="t">
            <a:spAutoFit/>
          </a:bodyPr>
          <a:lstStyle/>
          <a:p>
            <a:pPr>
              <a:defRPr sz="2200"/>
            </a:pPr>
            <a:r>
              <a:rPr sz="2000" err="1"/>
              <a:t>Inclui</a:t>
            </a:r>
            <a:r>
              <a:rPr sz="2000" dirty="0"/>
              <a:t> </a:t>
            </a:r>
            <a:r>
              <a:rPr sz="2000" err="1"/>
              <a:t>três</a:t>
            </a:r>
            <a:r>
              <a:rPr sz="2000" dirty="0"/>
              <a:t> </a:t>
            </a:r>
            <a:r>
              <a:rPr sz="2000" err="1"/>
              <a:t>cursos</a:t>
            </a:r>
            <a:r>
              <a:rPr sz="2000" dirty="0"/>
              <a:t> para </a:t>
            </a:r>
            <a:r>
              <a:rPr sz="2000" err="1"/>
              <a:t>ajudar</a:t>
            </a:r>
            <a:r>
              <a:rPr sz="2000" dirty="0"/>
              <a:t> </a:t>
            </a:r>
            <a:r>
              <a:rPr sz="2000" err="1"/>
              <a:t>os</a:t>
            </a:r>
            <a:r>
              <a:rPr sz="2000" dirty="0"/>
              <a:t> </a:t>
            </a:r>
            <a:r>
              <a:rPr sz="2000" err="1"/>
              <a:t>alunos</a:t>
            </a:r>
            <a:r>
              <a:rPr sz="2000" dirty="0"/>
              <a:t> a </a:t>
            </a:r>
            <a:r>
              <a:rPr sz="2000" err="1"/>
              <a:t>progredir</a:t>
            </a:r>
            <a:r>
              <a:rPr sz="2000" dirty="0"/>
              <a:t> de um </a:t>
            </a:r>
            <a:r>
              <a:rPr sz="2000" b="1" err="1">
                <a:solidFill>
                  <a:srgbClr val="69B340"/>
                </a:solidFill>
              </a:rPr>
              <a:t>nível</a:t>
            </a:r>
            <a:r>
              <a:rPr sz="2000" b="1" dirty="0">
                <a:solidFill>
                  <a:srgbClr val="69B340"/>
                </a:solidFill>
              </a:rPr>
              <a:t> de </a:t>
            </a:r>
            <a:r>
              <a:rPr sz="2000" b="1" err="1">
                <a:solidFill>
                  <a:srgbClr val="69B340"/>
                </a:solidFill>
              </a:rPr>
              <a:t>inglês</a:t>
            </a:r>
            <a:r>
              <a:rPr sz="2000" b="1" dirty="0">
                <a:solidFill>
                  <a:srgbClr val="69B340"/>
                </a:solidFill>
              </a:rPr>
              <a:t> </a:t>
            </a:r>
            <a:r>
              <a:rPr sz="2000" b="1" err="1">
                <a:solidFill>
                  <a:srgbClr val="69B340"/>
                </a:solidFill>
              </a:rPr>
              <a:t>básico</a:t>
            </a:r>
            <a:r>
              <a:rPr sz="2000" b="1" dirty="0">
                <a:solidFill>
                  <a:srgbClr val="69B340"/>
                </a:solidFill>
              </a:rPr>
              <a:t> para </a:t>
            </a:r>
            <a:r>
              <a:rPr sz="2000" b="1" err="1">
                <a:solidFill>
                  <a:srgbClr val="69B340"/>
                </a:solidFill>
              </a:rPr>
              <a:t>intermediário</a:t>
            </a:r>
            <a:r>
              <a:rPr lang="en-US" sz="2000" b="1" dirty="0">
                <a:solidFill>
                  <a:srgbClr val="69B340"/>
                </a:solidFill>
              </a:rPr>
              <a:t> </a:t>
            </a:r>
            <a:endParaRPr lang="en-US" sz="2000" b="1" dirty="0">
              <a:solidFill>
                <a:srgbClr val="69B340"/>
              </a:solidFill>
              <a:cs typeface="Calibri"/>
            </a:endParaRPr>
          </a:p>
        </p:txBody>
      </p:sp>
      <p:sp>
        <p:nvSpPr>
          <p:cNvPr id="10" name="Content Placeholder 2">
            <a:extLst>
              <a:ext uri="{FF2B5EF4-FFF2-40B4-BE49-F238E27FC236}">
                <a16:creationId xmlns:a16="http://schemas.microsoft.com/office/drawing/2014/main" id="{1C0FA216-8D3D-3047-8BAE-DA379674949C}"/>
              </a:ext>
            </a:extLst>
          </p:cNvPr>
          <p:cNvSpPr txBox="1">
            <a:spLocks/>
          </p:cNvSpPr>
          <p:nvPr/>
        </p:nvSpPr>
        <p:spPr>
          <a:xfrm>
            <a:off x="1653129" y="4699195"/>
            <a:ext cx="8953239" cy="739588"/>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2200"/>
            </a:pPr>
            <a:r>
              <a:rPr sz="2000" dirty="0" err="1"/>
              <a:t>Ajuda</a:t>
            </a:r>
            <a:r>
              <a:rPr sz="2000" dirty="0"/>
              <a:t> os </a:t>
            </a:r>
            <a:r>
              <a:rPr sz="2000" dirty="0" err="1"/>
              <a:t>alunos</a:t>
            </a:r>
            <a:r>
              <a:rPr sz="2000" dirty="0"/>
              <a:t> a </a:t>
            </a:r>
            <a:r>
              <a:rPr sz="2000" b="1" dirty="0" err="1">
                <a:solidFill>
                  <a:srgbClr val="69B340"/>
                </a:solidFill>
              </a:rPr>
              <a:t>assumir</a:t>
            </a:r>
            <a:r>
              <a:rPr sz="2000" b="1" dirty="0">
                <a:solidFill>
                  <a:srgbClr val="69B340"/>
                </a:solidFill>
              </a:rPr>
              <a:t> a </a:t>
            </a:r>
            <a:r>
              <a:rPr sz="2000" b="1" dirty="0" err="1">
                <a:solidFill>
                  <a:srgbClr val="69B340"/>
                </a:solidFill>
              </a:rPr>
              <a:t>responsabilidade</a:t>
            </a:r>
            <a:r>
              <a:rPr sz="2000" b="1" dirty="0">
                <a:solidFill>
                  <a:srgbClr val="69B340"/>
                </a:solidFill>
              </a:rPr>
              <a:t> por </a:t>
            </a:r>
            <a:r>
              <a:rPr sz="2000" b="1" dirty="0" err="1">
                <a:solidFill>
                  <a:srgbClr val="69B340"/>
                </a:solidFill>
              </a:rPr>
              <a:t>seu</a:t>
            </a:r>
            <a:r>
              <a:rPr sz="2000" b="1" dirty="0">
                <a:solidFill>
                  <a:srgbClr val="69B340"/>
                </a:solidFill>
              </a:rPr>
              <a:t> </a:t>
            </a:r>
            <a:r>
              <a:rPr sz="2000" b="1" dirty="0" err="1">
                <a:solidFill>
                  <a:srgbClr val="69B340"/>
                </a:solidFill>
              </a:rPr>
              <a:t>aprendizado</a:t>
            </a:r>
            <a:r>
              <a:rPr sz="2000" b="1" dirty="0">
                <a:solidFill>
                  <a:srgbClr val="69B340"/>
                </a:solidFill>
              </a:rPr>
              <a:t> </a:t>
            </a:r>
            <a:r>
              <a:rPr sz="2000" dirty="0"/>
              <a:t>e </a:t>
            </a:r>
            <a:r>
              <a:rPr sz="2000" dirty="0" err="1"/>
              <a:t>ensinar</a:t>
            </a:r>
            <a:r>
              <a:rPr sz="2000" dirty="0"/>
              <a:t> </a:t>
            </a:r>
            <a:r>
              <a:rPr sz="2000" dirty="0" err="1"/>
              <a:t>uns</a:t>
            </a:r>
            <a:r>
              <a:rPr sz="2000" dirty="0"/>
              <a:t> </a:t>
            </a:r>
            <a:r>
              <a:rPr sz="2000" dirty="0" err="1"/>
              <a:t>aos</a:t>
            </a:r>
            <a:r>
              <a:rPr sz="2000" dirty="0"/>
              <a:t> </a:t>
            </a:r>
            <a:r>
              <a:rPr sz="2000" dirty="0" err="1"/>
              <a:t>outros</a:t>
            </a:r>
            <a:r>
              <a:rPr sz="2000" dirty="0"/>
              <a:t> a</a:t>
            </a:r>
            <a:r>
              <a:rPr sz="2000" dirty="0">
                <a:solidFill>
                  <a:srgbClr val="313031"/>
                </a:solidFill>
              </a:rPr>
              <a:t> </a:t>
            </a:r>
            <a:r>
              <a:rPr sz="2000" b="1" dirty="0">
                <a:solidFill>
                  <a:srgbClr val="69B340"/>
                </a:solidFill>
              </a:rPr>
              <a:t>aprender pelo </a:t>
            </a:r>
            <a:r>
              <a:rPr sz="2000" b="1" dirty="0" err="1">
                <a:solidFill>
                  <a:srgbClr val="69B340"/>
                </a:solidFill>
              </a:rPr>
              <a:t>estudo</a:t>
            </a:r>
            <a:r>
              <a:rPr sz="2000" b="1" dirty="0">
                <a:solidFill>
                  <a:srgbClr val="69B340"/>
                </a:solidFill>
              </a:rPr>
              <a:t> e pela </a:t>
            </a:r>
            <a:r>
              <a:rPr sz="2000" b="1" dirty="0" err="1">
                <a:solidFill>
                  <a:srgbClr val="69B340"/>
                </a:solidFill>
              </a:rPr>
              <a:t>fé</a:t>
            </a:r>
            <a:endParaRPr lang="es-419" sz="2000" b="1" i="0" u="none" strike="noStrike" kern="1200" cap="none" spc="0" normalizeH="0" baseline="0" dirty="0">
              <a:ln>
                <a:noFill/>
              </a:ln>
              <a:solidFill>
                <a:srgbClr val="69B340"/>
              </a:solidFill>
              <a:effectLst/>
              <a:uLnTx/>
              <a:uFillTx/>
              <a:latin typeface="Calibri" panose="020F0502020204030204"/>
              <a:cs typeface="Calibri"/>
            </a:endParaRPr>
          </a:p>
        </p:txBody>
      </p:sp>
      <p:sp>
        <p:nvSpPr>
          <p:cNvPr id="5" name="TextBox 4">
            <a:extLst>
              <a:ext uri="{FF2B5EF4-FFF2-40B4-BE49-F238E27FC236}">
                <a16:creationId xmlns:a16="http://schemas.microsoft.com/office/drawing/2014/main" id="{CD13F077-4AC6-394F-B59D-28A4A9055A36}"/>
              </a:ext>
            </a:extLst>
          </p:cNvPr>
          <p:cNvSpPr txBox="1"/>
          <p:nvPr/>
        </p:nvSpPr>
        <p:spPr>
          <a:xfrm>
            <a:off x="1672338" y="5615810"/>
            <a:ext cx="8791356" cy="707886"/>
          </a:xfrm>
          <a:prstGeom prst="rect">
            <a:avLst/>
          </a:prstGeom>
          <a:noFill/>
        </p:spPr>
        <p:txBody>
          <a:bodyPr wrap="square" lIns="91440" tIns="45720" rIns="91440" bIns="45720" anchor="t">
            <a:spAutoFit/>
          </a:bodyPr>
          <a:lstStyle/>
          <a:p>
            <a:pPr>
              <a:defRPr sz="2200"/>
            </a:pPr>
            <a:r>
              <a:rPr sz="2000" dirty="0"/>
              <a:t>O </a:t>
            </a:r>
            <a:r>
              <a:rPr sz="2000" err="1"/>
              <a:t>EnglishConnect</a:t>
            </a:r>
            <a:r>
              <a:rPr sz="2000" dirty="0"/>
              <a:t> 3 </a:t>
            </a:r>
            <a:r>
              <a:rPr sz="2000" b="1" err="1">
                <a:solidFill>
                  <a:srgbClr val="69B340"/>
                </a:solidFill>
              </a:rPr>
              <a:t>prepara</a:t>
            </a:r>
            <a:r>
              <a:rPr sz="2000" b="1" dirty="0">
                <a:solidFill>
                  <a:srgbClr val="69B340"/>
                </a:solidFill>
              </a:rPr>
              <a:t> </a:t>
            </a:r>
            <a:r>
              <a:rPr sz="2000" b="1" err="1">
                <a:solidFill>
                  <a:srgbClr val="69B340"/>
                </a:solidFill>
              </a:rPr>
              <a:t>os</a:t>
            </a:r>
            <a:r>
              <a:rPr sz="2000" b="1" dirty="0">
                <a:solidFill>
                  <a:srgbClr val="69B340"/>
                </a:solidFill>
              </a:rPr>
              <a:t> </a:t>
            </a:r>
            <a:r>
              <a:rPr sz="2000" b="1" err="1">
                <a:solidFill>
                  <a:srgbClr val="69B340"/>
                </a:solidFill>
              </a:rPr>
              <a:t>alunos</a:t>
            </a:r>
            <a:r>
              <a:rPr sz="2000" b="1" dirty="0">
                <a:solidFill>
                  <a:srgbClr val="69B340"/>
                </a:solidFill>
              </a:rPr>
              <a:t> para o </a:t>
            </a:r>
            <a:r>
              <a:rPr sz="2000" b="1" err="1">
                <a:solidFill>
                  <a:srgbClr val="69B340"/>
                </a:solidFill>
              </a:rPr>
              <a:t>ensino</a:t>
            </a:r>
            <a:r>
              <a:rPr sz="2000" b="1" dirty="0">
                <a:solidFill>
                  <a:srgbClr val="69B340"/>
                </a:solidFill>
              </a:rPr>
              <a:t> superior </a:t>
            </a:r>
            <a:r>
              <a:rPr sz="2000" dirty="0">
                <a:solidFill>
                  <a:schemeClr val="accent6"/>
                </a:solidFill>
                <a:latin typeface="Calibri"/>
                <a:cs typeface="Calibri"/>
              </a:rPr>
              <a:t>— </a:t>
            </a:r>
            <a:r>
              <a:rPr sz="2000" err="1">
                <a:solidFill>
                  <a:schemeClr val="accent6"/>
                </a:solidFill>
                <a:latin typeface="Calibri"/>
                <a:cs typeface="Calibri"/>
              </a:rPr>
              <a:t>especialmente</a:t>
            </a:r>
            <a:r>
              <a:rPr sz="2000" dirty="0">
                <a:solidFill>
                  <a:schemeClr val="accent6"/>
                </a:solidFill>
                <a:latin typeface="Calibri"/>
                <a:cs typeface="Calibri"/>
              </a:rPr>
              <a:t> para a BYU-Pathway Worldwide</a:t>
            </a:r>
            <a:endParaRPr lang="en-US" sz="2000" dirty="0">
              <a:solidFill>
                <a:schemeClr val="accent6"/>
              </a:solidFill>
              <a:latin typeface="Calibri"/>
              <a:cs typeface="Calibri"/>
            </a:endParaRPr>
          </a:p>
        </p:txBody>
      </p:sp>
      <p:sp>
        <p:nvSpPr>
          <p:cNvPr id="4" name="Slide Number Placeholder 3">
            <a:extLst>
              <a:ext uri="{FF2B5EF4-FFF2-40B4-BE49-F238E27FC236}">
                <a16:creationId xmlns:a16="http://schemas.microsoft.com/office/drawing/2014/main" id="{2064DF69-4710-A046-A3A5-B3E2E9A52435}"/>
              </a:ext>
            </a:extLst>
          </p:cNvPr>
          <p:cNvSpPr>
            <a:spLocks noGrp="1"/>
          </p:cNvSpPr>
          <p:nvPr>
            <p:ph type="sldNum" sz="quarter" idx="4"/>
          </p:nvPr>
        </p:nvSpPr>
        <p:spPr/>
        <p:txBody>
          <a:bodyPr/>
          <a:lstStyle/>
          <a:p>
            <a:fld id="{8893C2FB-EF86-FD49-89EB-659751C15892}" type="slidenum">
              <a:rPr lang="en-US" dirty="0" smtClean="0"/>
              <a:t>38</a:t>
            </a:fld>
            <a:endParaRPr lang="en-US"/>
          </a:p>
        </p:txBody>
      </p:sp>
      <p:sp>
        <p:nvSpPr>
          <p:cNvPr id="12" name="Text Placeholder 1">
            <a:extLst>
              <a:ext uri="{FF2B5EF4-FFF2-40B4-BE49-F238E27FC236}">
                <a16:creationId xmlns:a16="http://schemas.microsoft.com/office/drawing/2014/main" id="{38205E5E-C618-8440-A113-CB41EC11E950}"/>
              </a:ext>
            </a:extLst>
          </p:cNvPr>
          <p:cNvSpPr txBox="1">
            <a:spLocks/>
          </p:cNvSpPr>
          <p:nvPr/>
        </p:nvSpPr>
        <p:spPr>
          <a:xfrm>
            <a:off x="3853470" y="367578"/>
            <a:ext cx="7852978" cy="456363"/>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sz="4400">
                <a:latin typeface="+mj-lt"/>
              </a:defRPr>
            </a:pPr>
            <a:r>
              <a:rPr err="1"/>
              <a:t>Cursos</a:t>
            </a:r>
            <a:r>
              <a:t> </a:t>
            </a:r>
            <a:r>
              <a:rPr err="1"/>
              <a:t>EnglishConnect</a:t>
            </a:r>
          </a:p>
        </p:txBody>
      </p:sp>
      <p:sp>
        <p:nvSpPr>
          <p:cNvPr id="8" name="Rectangle 7">
            <a:extLst>
              <a:ext uri="{FF2B5EF4-FFF2-40B4-BE49-F238E27FC236}">
                <a16:creationId xmlns:a16="http://schemas.microsoft.com/office/drawing/2014/main" id="{E3A8FFCF-E578-2ED6-71FD-72364C316E3C}"/>
              </a:ext>
            </a:extLst>
          </p:cNvPr>
          <p:cNvSpPr/>
          <p:nvPr/>
        </p:nvSpPr>
        <p:spPr>
          <a:xfrm>
            <a:off x="0" y="-1"/>
            <a:ext cx="3563007" cy="1174139"/>
          </a:xfrm>
          <a:prstGeom prst="rect">
            <a:avLst/>
          </a:prstGeom>
          <a:solidFill>
            <a:srgbClr val="69B3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Logo  Description automatically generated">
            <a:extLst>
              <a:ext uri="{FF2B5EF4-FFF2-40B4-BE49-F238E27FC236}">
                <a16:creationId xmlns:a16="http://schemas.microsoft.com/office/drawing/2014/main" id="{9DC994DA-F74B-3828-6B24-1B982CA055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230767"/>
            <a:ext cx="3563006" cy="712601"/>
          </a:xfrm>
          <a:prstGeom prst="rect">
            <a:avLst/>
          </a:prstGeom>
        </p:spPr>
      </p:pic>
      <p:pic>
        <p:nvPicPr>
          <p:cNvPr id="9" name="Picture 8" descr="A green and black rectangular sign&#10;&#10;Description automatically generated">
            <a:extLst>
              <a:ext uri="{FF2B5EF4-FFF2-40B4-BE49-F238E27FC236}">
                <a16:creationId xmlns:a16="http://schemas.microsoft.com/office/drawing/2014/main" id="{D09F6A7E-8767-AB5F-5259-DC7B083CF1FB}"/>
              </a:ext>
            </a:extLst>
          </p:cNvPr>
          <p:cNvPicPr>
            <a:picLocks noChangeAspect="1"/>
          </p:cNvPicPr>
          <p:nvPr/>
        </p:nvPicPr>
        <p:blipFill>
          <a:blip r:embed="rId5"/>
          <a:stretch>
            <a:fillRect/>
          </a:stretch>
        </p:blipFill>
        <p:spPr>
          <a:xfrm>
            <a:off x="1394144" y="1647466"/>
            <a:ext cx="9403711" cy="1916288"/>
          </a:xfrm>
          <a:prstGeom prst="rect">
            <a:avLst/>
          </a:prstGeom>
        </p:spPr>
      </p:pic>
    </p:spTree>
    <p:extLst>
      <p:ext uri="{BB962C8B-B14F-4D97-AF65-F5344CB8AC3E}">
        <p14:creationId xmlns:p14="http://schemas.microsoft.com/office/powerpoint/2010/main" val="29013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1C276B-2A33-C049-AEF8-5AF88AD11664}"/>
              </a:ext>
            </a:extLst>
          </p:cNvPr>
          <p:cNvSpPr txBox="1">
            <a:spLocks/>
          </p:cNvSpPr>
          <p:nvPr/>
        </p:nvSpPr>
        <p:spPr>
          <a:xfrm>
            <a:off x="4650748" y="1118940"/>
            <a:ext cx="6755593"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Como atendemos os alunos</a:t>
            </a:r>
          </a:p>
        </p:txBody>
      </p:sp>
      <p:sp>
        <p:nvSpPr>
          <p:cNvPr id="3" name="Rectangle 2">
            <a:extLst>
              <a:ext uri="{FF2B5EF4-FFF2-40B4-BE49-F238E27FC236}">
                <a16:creationId xmlns:a16="http://schemas.microsoft.com/office/drawing/2014/main" id="{2198D0CB-A244-3645-93EF-5E47B40A5F95}"/>
              </a:ext>
            </a:extLst>
          </p:cNvPr>
          <p:cNvSpPr/>
          <p:nvPr/>
        </p:nvSpPr>
        <p:spPr>
          <a:xfrm>
            <a:off x="4676982" y="1855331"/>
            <a:ext cx="6062943" cy="818557"/>
          </a:xfrm>
          <a:prstGeom prst="rect">
            <a:avLst/>
          </a:prstGeom>
        </p:spPr>
        <p:txBody>
          <a:bodyPr wrap="square" lIns="91440" tIns="45720" rIns="91440" bIns="45720" anchor="t">
            <a:spAutoFit/>
          </a:bodyPr>
          <a:lstStyle/>
          <a:p>
            <a:pPr>
              <a:lnSpc>
                <a:spcPct val="110000"/>
              </a:lnSpc>
              <a:defRPr sz="2200"/>
            </a:pPr>
            <a:r>
              <a:rPr lang="en-US" dirty="0"/>
              <a:t>A BYU-Pathway</a:t>
            </a:r>
            <a:r>
              <a:rPr dirty="0"/>
              <a:t> </a:t>
            </a:r>
            <a:r>
              <a:rPr dirty="0" err="1"/>
              <a:t>fornece</a:t>
            </a:r>
            <a:r>
              <a:rPr dirty="0"/>
              <a:t> </a:t>
            </a:r>
            <a:r>
              <a:rPr dirty="0" err="1"/>
              <a:t>suporte</a:t>
            </a:r>
            <a:r>
              <a:rPr dirty="0"/>
              <a:t> e </a:t>
            </a:r>
            <a:r>
              <a:rPr dirty="0" err="1"/>
              <a:t>recursos</a:t>
            </a:r>
            <a:r>
              <a:rPr dirty="0"/>
              <a:t>;</a:t>
            </a:r>
            <a:r>
              <a:rPr lang="en-US" dirty="0"/>
              <a:t> a </a:t>
            </a:r>
            <a:r>
              <a:rPr dirty="0"/>
              <a:t>BYU-Idaho e </a:t>
            </a:r>
            <a:r>
              <a:rPr lang="en-US" dirty="0"/>
              <a:t>a Ensign</a:t>
            </a:r>
            <a:r>
              <a:rPr dirty="0"/>
              <a:t> College </a:t>
            </a:r>
            <a:r>
              <a:rPr dirty="0" err="1"/>
              <a:t>concedem</a:t>
            </a:r>
            <a:r>
              <a:rPr dirty="0"/>
              <a:t> as </a:t>
            </a:r>
            <a:r>
              <a:rPr lang="en-US" dirty="0"/>
              <a:t>diplomas</a:t>
            </a:r>
            <a:r>
              <a:rPr dirty="0"/>
              <a:t>.</a:t>
            </a:r>
          </a:p>
        </p:txBody>
      </p:sp>
      <p:sp>
        <p:nvSpPr>
          <p:cNvPr id="4" name="Rectangle 3">
            <a:extLst>
              <a:ext uri="{FF2B5EF4-FFF2-40B4-BE49-F238E27FC236}">
                <a16:creationId xmlns:a16="http://schemas.microsoft.com/office/drawing/2014/main" id="{F181B19D-8554-ED4C-8221-8D164BD2AE03}"/>
              </a:ext>
            </a:extLst>
          </p:cNvPr>
          <p:cNvSpPr/>
          <p:nvPr/>
        </p:nvSpPr>
        <p:spPr>
          <a:xfrm>
            <a:off x="4676876" y="3278254"/>
            <a:ext cx="3810001" cy="2331407"/>
          </a:xfrm>
          <a:prstGeom prst="rect">
            <a:avLst/>
          </a:prstGeom>
        </p:spPr>
        <p:txBody>
          <a:bodyPr wrap="square" lIns="91440" tIns="45720" rIns="91440" bIns="45720" anchor="t">
            <a:spAutoFit/>
          </a:bodyPr>
          <a:lstStyle/>
          <a:p>
            <a:pPr>
              <a:defRPr sz="2400" b="1">
                <a:solidFill>
                  <a:srgbClr val="3A929D"/>
                </a:solidFill>
              </a:defRPr>
            </a:pPr>
            <a:r>
              <a:rPr dirty="0"/>
              <a:t>BYU-PATHWAY </a:t>
            </a:r>
            <a:br>
              <a:rPr lang="en-US" sz="2400" b="1" dirty="0"/>
            </a:br>
            <a:r>
              <a:rPr lang="en-US" dirty="0"/>
              <a:t>WORLDWIDE</a:t>
            </a:r>
            <a:endParaRPr lang="en-US" dirty="0">
              <a:cs typeface="Calibri"/>
            </a:endParaRPr>
          </a:p>
          <a:p>
            <a:pPr marL="342900" indent="-342900">
              <a:lnSpc>
                <a:spcPct val="150000"/>
              </a:lnSpc>
              <a:spcAft>
                <a:spcPts val="300"/>
              </a:spcAft>
              <a:buFont typeface="Arial"/>
              <a:buChar char="•"/>
              <a:defRPr sz="2000"/>
            </a:pPr>
            <a:r>
              <a:rPr dirty="0" err="1"/>
              <a:t>Suporte</a:t>
            </a:r>
            <a:r>
              <a:rPr dirty="0"/>
              <a:t> </a:t>
            </a:r>
            <a:r>
              <a:rPr lang="en-US" dirty="0"/>
              <a:t>on-line</a:t>
            </a:r>
            <a:endParaRPr lang="en-US" sz="2000" dirty="0">
              <a:cs typeface="Calibri"/>
            </a:endParaRPr>
          </a:p>
          <a:p>
            <a:pPr marL="342900" indent="-342900">
              <a:spcAft>
                <a:spcPts val="300"/>
              </a:spcAft>
              <a:buFont typeface="Arial"/>
              <a:buChar char="•"/>
              <a:defRPr sz="2000"/>
            </a:pPr>
            <a:r>
              <a:rPr dirty="0" err="1"/>
              <a:t>Acesso</a:t>
            </a:r>
            <a:r>
              <a:rPr dirty="0"/>
              <a:t> </a:t>
            </a:r>
            <a:r>
              <a:rPr dirty="0" err="1"/>
              <a:t>aos</a:t>
            </a:r>
            <a:r>
              <a:rPr dirty="0"/>
              <a:t> </a:t>
            </a:r>
            <a:r>
              <a:rPr dirty="0" err="1"/>
              <a:t>cursos</a:t>
            </a:r>
            <a:endParaRPr lang="en-US" sz="2000" dirty="0" err="1">
              <a:cs typeface="Calibri"/>
            </a:endParaRPr>
          </a:p>
          <a:p>
            <a:pPr marL="342900" indent="-342900">
              <a:spcAft>
                <a:spcPts val="300"/>
              </a:spcAft>
              <a:buFont typeface="Arial"/>
              <a:buChar char="•"/>
              <a:defRPr sz="2000"/>
            </a:pPr>
            <a:r>
              <a:rPr dirty="0"/>
              <a:t>Assessoria de </a:t>
            </a:r>
            <a:r>
              <a:rPr lang="en-US" sz="2000" dirty="0">
                <a:solidFill>
                  <a:srgbClr val="313031"/>
                </a:solidFill>
                <a:latin typeface="Calibri"/>
                <a:cs typeface="Calibri"/>
              </a:rPr>
              <a:t>diploma</a:t>
            </a:r>
            <a:endParaRPr lang="en-US" sz="2000" dirty="0">
              <a:cs typeface="Calibri"/>
            </a:endParaRPr>
          </a:p>
          <a:p>
            <a:pPr marL="342900" indent="-342900">
              <a:spcAft>
                <a:spcPts val="300"/>
              </a:spcAft>
              <a:buFont typeface="Arial"/>
              <a:buChar char="•"/>
              <a:defRPr sz="2000"/>
            </a:pPr>
            <a:r>
              <a:rPr dirty="0" err="1"/>
              <a:t>Inscrição</a:t>
            </a:r>
            <a:r>
              <a:rPr dirty="0"/>
              <a:t> no </a:t>
            </a:r>
            <a:r>
              <a:rPr dirty="0" err="1"/>
              <a:t>curso</a:t>
            </a:r>
            <a:endParaRPr lang="en-US" sz="2000" dirty="0" err="1">
              <a:cs typeface="Calibri" panose="020F0502020204030204"/>
            </a:endParaRPr>
          </a:p>
        </p:txBody>
      </p:sp>
      <p:sp>
        <p:nvSpPr>
          <p:cNvPr id="5" name="Rectangle 4">
            <a:extLst>
              <a:ext uri="{FF2B5EF4-FFF2-40B4-BE49-F238E27FC236}">
                <a16:creationId xmlns:a16="http://schemas.microsoft.com/office/drawing/2014/main" id="{0335E6F8-EF19-6242-8508-519A043B3930}"/>
              </a:ext>
            </a:extLst>
          </p:cNvPr>
          <p:cNvSpPr/>
          <p:nvPr/>
        </p:nvSpPr>
        <p:spPr>
          <a:xfrm>
            <a:off x="8246559" y="3279224"/>
            <a:ext cx="3378774" cy="1940284"/>
          </a:xfrm>
          <a:prstGeom prst="rect">
            <a:avLst/>
          </a:prstGeom>
        </p:spPr>
        <p:txBody>
          <a:bodyPr wrap="square" lIns="91440" tIns="45720" rIns="91440" bIns="45720" anchor="t">
            <a:spAutoFit/>
          </a:bodyPr>
          <a:lstStyle/>
          <a:p>
            <a:pPr>
              <a:defRPr sz="2400" b="1">
                <a:solidFill>
                  <a:srgbClr val="3A929D"/>
                </a:solidFill>
              </a:defRPr>
            </a:pPr>
            <a:r>
              <a:rPr dirty="0"/>
              <a:t>BYU-IDAHO &amp; </a:t>
            </a:r>
            <a:br>
              <a:rPr lang="en-US" sz="2400" b="1" dirty="0"/>
            </a:br>
            <a:r>
              <a:rPr dirty="0"/>
              <a:t> </a:t>
            </a:r>
            <a:r>
              <a:rPr lang="en-US" dirty="0"/>
              <a:t>ENSIGN COLLEGE</a:t>
            </a:r>
            <a:endParaRPr lang="en-US" dirty="0">
              <a:cs typeface="Calibri"/>
            </a:endParaRPr>
          </a:p>
          <a:p>
            <a:pPr marL="342900" indent="-342900">
              <a:lnSpc>
                <a:spcPct val="150000"/>
              </a:lnSpc>
              <a:spcAft>
                <a:spcPts val="300"/>
              </a:spcAft>
              <a:buFont typeface="Arial"/>
              <a:buChar char="•"/>
              <a:defRPr sz="2000"/>
            </a:pPr>
            <a:r>
              <a:rPr dirty="0" err="1"/>
              <a:t>Construir</a:t>
            </a:r>
            <a:r>
              <a:rPr dirty="0"/>
              <a:t> &amp; </a:t>
            </a:r>
            <a:r>
              <a:rPr dirty="0" err="1"/>
              <a:t>oferecer</a:t>
            </a:r>
            <a:r>
              <a:rPr dirty="0"/>
              <a:t> </a:t>
            </a:r>
            <a:r>
              <a:rPr dirty="0" err="1"/>
              <a:t>cursos</a:t>
            </a:r>
            <a:endParaRPr lang="en-US" sz="2000" dirty="0" err="1">
              <a:cs typeface="Calibri"/>
            </a:endParaRPr>
          </a:p>
          <a:p>
            <a:pPr marL="342900" indent="-342900">
              <a:spcAft>
                <a:spcPts val="300"/>
              </a:spcAft>
              <a:buFont typeface="Arial"/>
              <a:buChar char="•"/>
              <a:defRPr sz="2000"/>
            </a:pPr>
            <a:r>
              <a:rPr dirty="0" err="1"/>
              <a:t>Conceder</a:t>
            </a:r>
            <a:r>
              <a:rPr dirty="0"/>
              <a:t> </a:t>
            </a:r>
            <a:r>
              <a:rPr dirty="0" err="1"/>
              <a:t>certificados</a:t>
            </a:r>
            <a:r>
              <a:rPr dirty="0"/>
              <a:t> </a:t>
            </a:r>
            <a:br>
              <a:rPr lang="en-US" sz="2000" dirty="0"/>
            </a:br>
            <a:r>
              <a:rPr dirty="0"/>
              <a:t>e diplomas </a:t>
            </a:r>
            <a:r>
              <a:rPr dirty="0" err="1"/>
              <a:t>aprovados</a:t>
            </a:r>
            <a:endParaRPr lang="en-US" sz="2000" dirty="0" err="1">
              <a:cs typeface="Calibri"/>
            </a:endParaRPr>
          </a:p>
        </p:txBody>
      </p:sp>
      <p:sp>
        <p:nvSpPr>
          <p:cNvPr id="9" name="Slide Number Placeholder 3">
            <a:extLst>
              <a:ext uri="{FF2B5EF4-FFF2-40B4-BE49-F238E27FC236}">
                <a16:creationId xmlns:a16="http://schemas.microsoft.com/office/drawing/2014/main" id="{28C60AF8-9E04-484F-9046-81FA4743541F}"/>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3</a:t>
            </a:fld>
            <a:endParaRPr lang="en-US"/>
          </a:p>
        </p:txBody>
      </p:sp>
      <p:cxnSp>
        <p:nvCxnSpPr>
          <p:cNvPr id="7" name="Straight Connector 6">
            <a:extLst>
              <a:ext uri="{FF2B5EF4-FFF2-40B4-BE49-F238E27FC236}">
                <a16:creationId xmlns:a16="http://schemas.microsoft.com/office/drawing/2014/main" id="{2FDFA615-E1C4-504F-AEFA-040F29D02920}"/>
              </a:ext>
            </a:extLst>
          </p:cNvPr>
          <p:cNvCxnSpPr>
            <a:cxnSpLocks/>
          </p:cNvCxnSpPr>
          <p:nvPr/>
        </p:nvCxnSpPr>
        <p:spPr>
          <a:xfrm>
            <a:off x="7923368" y="3381141"/>
            <a:ext cx="0" cy="213679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8" name="Picture 17" descr="A yellow and white sign with black text&#10;&#10;Description automatically generated">
            <a:extLst>
              <a:ext uri="{FF2B5EF4-FFF2-40B4-BE49-F238E27FC236}">
                <a16:creationId xmlns:a16="http://schemas.microsoft.com/office/drawing/2014/main" id="{80F9482C-C2B7-6F9D-33C2-1D44B1310C81}"/>
              </a:ext>
            </a:extLst>
          </p:cNvPr>
          <p:cNvPicPr>
            <a:picLocks noChangeAspect="1"/>
          </p:cNvPicPr>
          <p:nvPr/>
        </p:nvPicPr>
        <p:blipFill>
          <a:blip r:embed="rId4"/>
          <a:stretch>
            <a:fillRect/>
          </a:stretch>
        </p:blipFill>
        <p:spPr>
          <a:xfrm>
            <a:off x="920014" y="1166908"/>
            <a:ext cx="2487522" cy="2798463"/>
          </a:xfrm>
          <a:prstGeom prst="rect">
            <a:avLst/>
          </a:prstGeom>
        </p:spPr>
      </p:pic>
    </p:spTree>
    <p:extLst>
      <p:ext uri="{BB962C8B-B14F-4D97-AF65-F5344CB8AC3E}">
        <p14:creationId xmlns:p14="http://schemas.microsoft.com/office/powerpoint/2010/main" val="101989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A person standing in front of a group of people posing for the camera  Description automatically generated">
            <a:extLst>
              <a:ext uri="{FF2B5EF4-FFF2-40B4-BE49-F238E27FC236}">
                <a16:creationId xmlns:a16="http://schemas.microsoft.com/office/drawing/2014/main" id="{D9191A2E-04EE-429A-8871-9D5581EED7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2" y="1302748"/>
            <a:ext cx="6401816" cy="4244259"/>
          </a:xfrm>
          <a:prstGeom prst="rect">
            <a:avLst/>
          </a:prstGeom>
        </p:spPr>
      </p:pic>
      <p:sp>
        <p:nvSpPr>
          <p:cNvPr id="7" name="TextBox 6">
            <a:extLst>
              <a:ext uri="{FF2B5EF4-FFF2-40B4-BE49-F238E27FC236}">
                <a16:creationId xmlns:a16="http://schemas.microsoft.com/office/drawing/2014/main" id="{816C2258-025C-C243-8098-581E6CD6C09D}"/>
              </a:ext>
            </a:extLst>
          </p:cNvPr>
          <p:cNvSpPr txBox="1"/>
          <p:nvPr/>
        </p:nvSpPr>
        <p:spPr>
          <a:xfrm>
            <a:off x="7015214" y="3911286"/>
            <a:ext cx="4530738" cy="584775"/>
          </a:xfrm>
          <a:prstGeom prst="rect">
            <a:avLst/>
          </a:prstGeom>
          <a:noFill/>
        </p:spPr>
        <p:txBody>
          <a:bodyPr wrap="square">
            <a:spAutoFit/>
          </a:bodyPr>
          <a:lstStyle/>
          <a:p>
            <a:pPr lvl="0" algn="ctr">
              <a:defRPr sz="3200" b="1" i="1">
                <a:solidFill>
                  <a:srgbClr val="69B340"/>
                </a:solidFill>
              </a:defRPr>
            </a:pPr>
            <a:r>
              <a:t>EnglishConnect.org/join</a:t>
            </a:r>
          </a:p>
        </p:txBody>
      </p:sp>
      <p:pic>
        <p:nvPicPr>
          <p:cNvPr id="5" name="Picture 4" descr="A green and grey text on a black background&#10;&#10;Description automatically generated">
            <a:extLst>
              <a:ext uri="{FF2B5EF4-FFF2-40B4-BE49-F238E27FC236}">
                <a16:creationId xmlns:a16="http://schemas.microsoft.com/office/drawing/2014/main" id="{ECB04300-8F09-C9C4-403A-5B9435B1D669}"/>
              </a:ext>
            </a:extLst>
          </p:cNvPr>
          <p:cNvPicPr>
            <a:picLocks noChangeAspect="1"/>
          </p:cNvPicPr>
          <p:nvPr/>
        </p:nvPicPr>
        <p:blipFill>
          <a:blip r:embed="rId3"/>
          <a:stretch>
            <a:fillRect/>
          </a:stretch>
        </p:blipFill>
        <p:spPr>
          <a:xfrm>
            <a:off x="6446177" y="2587728"/>
            <a:ext cx="5631548" cy="1126610"/>
          </a:xfrm>
          <a:prstGeom prst="rect">
            <a:avLst/>
          </a:prstGeom>
        </p:spPr>
      </p:pic>
    </p:spTree>
    <p:extLst>
      <p:ext uri="{BB962C8B-B14F-4D97-AF65-F5344CB8AC3E}">
        <p14:creationId xmlns:p14="http://schemas.microsoft.com/office/powerpoint/2010/main" val="81264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4</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5" name="Rectangle 4">
            <a:extLst>
              <a:ext uri="{FF2B5EF4-FFF2-40B4-BE49-F238E27FC236}">
                <a16:creationId xmlns:a16="http://schemas.microsoft.com/office/drawing/2014/main" id="{7615F437-AACA-9175-406B-64C66D810847}"/>
              </a:ext>
            </a:extLst>
          </p:cNvPr>
          <p:cNvSpPr/>
          <p:nvPr/>
        </p:nvSpPr>
        <p:spPr>
          <a:xfrm>
            <a:off x="5592498" y="1595100"/>
            <a:ext cx="5909935" cy="4960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45720" anchor="t" anchorCtr="0"/>
          <a:lstStyle/>
          <a:p>
            <a:pPr marL="285750" indent="-285750">
              <a:spcAft>
                <a:spcPts val="1200"/>
              </a:spcAft>
              <a:buFont typeface="Arial" panose="020B0604020202020204" pitchFamily="34" charset="0"/>
              <a:buChar char="•"/>
              <a:defRPr sz="1900">
                <a:solidFill>
                  <a:schemeClr val="tx1"/>
                </a:solidFill>
                <a:ea typeface="+mn-lt"/>
                <a:cs typeface="+mn-lt"/>
              </a:defRPr>
            </a:pPr>
            <a:r>
              <a:rPr dirty="0"/>
              <a:t>Custo </a:t>
            </a:r>
            <a:r>
              <a:rPr dirty="0" err="1"/>
              <a:t>reduzido</a:t>
            </a:r>
            <a:endParaRPr lang="en-US" dirty="0">
              <a:solidFill>
                <a:schemeClr val="tx1"/>
              </a:solidFill>
              <a:cs typeface="Calibri"/>
            </a:endParaRPr>
          </a:p>
          <a:p>
            <a:pPr marL="285750" indent="-285750">
              <a:spcAft>
                <a:spcPts val="1200"/>
              </a:spcAft>
              <a:buFont typeface="Arial" panose="020B0604020202020204" pitchFamily="34" charset="0"/>
              <a:buChar char="•"/>
              <a:defRPr sz="1900">
                <a:solidFill>
                  <a:schemeClr val="tx2"/>
                </a:solidFill>
              </a:defRPr>
            </a:pPr>
            <a:r>
              <a:rPr dirty="0"/>
              <a:t>Seis </a:t>
            </a:r>
            <a:r>
              <a:rPr dirty="0" err="1"/>
              <a:t>cursos</a:t>
            </a:r>
            <a:r>
              <a:rPr dirty="0"/>
              <a:t> </a:t>
            </a:r>
            <a:r>
              <a:rPr dirty="0" err="1"/>
              <a:t>fundamentais</a:t>
            </a:r>
            <a:r>
              <a:rPr dirty="0"/>
              <a:t> — </a:t>
            </a:r>
            <a:r>
              <a:rPr dirty="0" err="1"/>
              <a:t>todos</a:t>
            </a:r>
            <a:r>
              <a:rPr dirty="0"/>
              <a:t> </a:t>
            </a:r>
            <a:r>
              <a:rPr dirty="0" err="1"/>
              <a:t>contam</a:t>
            </a:r>
            <a:r>
              <a:rPr dirty="0"/>
              <a:t> </a:t>
            </a:r>
            <a:br>
              <a:rPr lang="en-US" dirty="0"/>
            </a:br>
            <a:r>
              <a:rPr dirty="0"/>
              <a:t>para um diploma</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2"/>
                </a:solidFill>
              </a:defRPr>
            </a:pPr>
            <a:r>
              <a:rPr dirty="0" err="1"/>
              <a:t>Reuniões</a:t>
            </a:r>
            <a:r>
              <a:rPr dirty="0"/>
              <a:t> </a:t>
            </a:r>
            <a:r>
              <a:rPr dirty="0" err="1"/>
              <a:t>semanais</a:t>
            </a:r>
            <a:r>
              <a:rPr dirty="0"/>
              <a:t> (</a:t>
            </a:r>
            <a:r>
              <a:rPr lang="en-US" dirty="0"/>
              <a:t>on-line</a:t>
            </a:r>
            <a:r>
              <a:rPr dirty="0"/>
              <a:t> </a:t>
            </a:r>
            <a:r>
              <a:rPr dirty="0" err="1"/>
              <a:t>ou</a:t>
            </a:r>
            <a:r>
              <a:rPr dirty="0"/>
              <a:t> </a:t>
            </a:r>
            <a:r>
              <a:rPr dirty="0" err="1"/>
              <a:t>presenciais</a:t>
            </a:r>
            <a:r>
              <a:rPr dirty="0"/>
              <a:t>) </a:t>
            </a:r>
            <a:r>
              <a:rPr dirty="0" err="1"/>
              <a:t>durante</a:t>
            </a:r>
            <a:r>
              <a:rPr dirty="0"/>
              <a:t> </a:t>
            </a:r>
            <a:r>
              <a:rPr dirty="0" err="1"/>
              <a:t>os</a:t>
            </a:r>
            <a:r>
              <a:rPr dirty="0"/>
              <a:t> </a:t>
            </a:r>
            <a:r>
              <a:rPr dirty="0" err="1"/>
              <a:t>três</a:t>
            </a:r>
            <a:r>
              <a:rPr dirty="0"/>
              <a:t> </a:t>
            </a:r>
            <a:r>
              <a:rPr dirty="0" err="1"/>
              <a:t>primeiros</a:t>
            </a:r>
            <a:r>
              <a:rPr dirty="0"/>
              <a:t> </a:t>
            </a:r>
            <a:r>
              <a:rPr dirty="0" err="1"/>
              <a:t>períodos</a:t>
            </a:r>
            <a:r>
              <a:rPr dirty="0"/>
              <a:t> para </a:t>
            </a:r>
            <a:r>
              <a:rPr dirty="0" err="1"/>
              <a:t>suporte</a:t>
            </a:r>
            <a:r>
              <a:rPr dirty="0"/>
              <a:t> </a:t>
            </a:r>
            <a:r>
              <a:rPr dirty="0" err="1"/>
              <a:t>adicional</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2"/>
                </a:solidFill>
              </a:defRPr>
            </a:pPr>
            <a:r>
              <a:rPr dirty="0" err="1"/>
              <a:t>Não</a:t>
            </a:r>
            <a:r>
              <a:rPr dirty="0"/>
              <a:t> é </a:t>
            </a:r>
            <a:r>
              <a:rPr dirty="0" err="1"/>
              <a:t>necessário</a:t>
            </a:r>
            <a:r>
              <a:rPr dirty="0"/>
              <a:t> </a:t>
            </a:r>
            <a:br>
              <a:rPr lang="en-US" dirty="0"/>
            </a:br>
            <a:r>
              <a:rPr dirty="0" err="1"/>
              <a:t>completar</a:t>
            </a:r>
            <a:r>
              <a:rPr dirty="0"/>
              <a:t> o </a:t>
            </a:r>
            <a:r>
              <a:rPr dirty="0" err="1"/>
              <a:t>ensino</a:t>
            </a:r>
            <a:r>
              <a:rPr dirty="0"/>
              <a:t> </a:t>
            </a:r>
            <a:r>
              <a:rPr dirty="0" err="1"/>
              <a:t>médio</a:t>
            </a:r>
            <a:r>
              <a:rPr dirty="0"/>
              <a:t> (para </a:t>
            </a:r>
            <a:r>
              <a:rPr dirty="0" err="1"/>
              <a:t>idade</a:t>
            </a:r>
            <a:r>
              <a:rPr dirty="0"/>
              <a:t> 1</a:t>
            </a:r>
            <a:r>
              <a:rPr lang="en-US" dirty="0"/>
              <a:t>8</a:t>
            </a:r>
            <a:r>
              <a:rPr dirty="0"/>
              <a:t>+)</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1"/>
                </a:solidFill>
                <a:ea typeface="+mn-lt"/>
                <a:cs typeface="+mn-lt"/>
              </a:defRPr>
            </a:pPr>
            <a:r>
              <a:rPr dirty="0"/>
              <a:t>A </a:t>
            </a:r>
            <a:r>
              <a:rPr dirty="0" err="1"/>
              <a:t>avaliação</a:t>
            </a:r>
            <a:r>
              <a:rPr dirty="0"/>
              <a:t> de </a:t>
            </a:r>
            <a:r>
              <a:rPr dirty="0" err="1"/>
              <a:t>inglês</a:t>
            </a:r>
            <a:r>
              <a:rPr dirty="0"/>
              <a:t> é </a:t>
            </a:r>
            <a:r>
              <a:rPr dirty="0" err="1"/>
              <a:t>obrigatória</a:t>
            </a:r>
            <a:r>
              <a:rPr dirty="0"/>
              <a:t> </a:t>
            </a:r>
            <a:r>
              <a:rPr dirty="0" err="1"/>
              <a:t>porque</a:t>
            </a:r>
            <a:r>
              <a:rPr dirty="0"/>
              <a:t> </a:t>
            </a:r>
            <a:r>
              <a:rPr dirty="0" err="1"/>
              <a:t>todos</a:t>
            </a:r>
            <a:r>
              <a:rPr dirty="0"/>
              <a:t> </a:t>
            </a:r>
            <a:r>
              <a:rPr dirty="0" err="1"/>
              <a:t>os</a:t>
            </a:r>
            <a:r>
              <a:rPr dirty="0"/>
              <a:t> </a:t>
            </a:r>
            <a:r>
              <a:rPr dirty="0" err="1"/>
              <a:t>cursos</a:t>
            </a:r>
            <a:r>
              <a:rPr dirty="0"/>
              <a:t> </a:t>
            </a:r>
            <a:r>
              <a:rPr dirty="0" err="1"/>
              <a:t>são</a:t>
            </a:r>
            <a:r>
              <a:rPr dirty="0"/>
              <a:t> </a:t>
            </a:r>
            <a:r>
              <a:rPr dirty="0" err="1"/>
              <a:t>em</a:t>
            </a:r>
            <a:r>
              <a:rPr dirty="0"/>
              <a:t> </a:t>
            </a:r>
            <a:r>
              <a:rPr dirty="0" err="1"/>
              <a:t>inglês</a:t>
            </a:r>
            <a:r>
              <a:rPr dirty="0"/>
              <a:t>.</a:t>
            </a:r>
          </a:p>
          <a:p>
            <a:pPr marL="285750" indent="-285750">
              <a:spcAft>
                <a:spcPts val="1200"/>
              </a:spcAft>
              <a:buFont typeface="Arial" panose="020B0604020202020204" pitchFamily="34" charset="0"/>
              <a:buChar char="•"/>
              <a:defRPr sz="1900">
                <a:solidFill>
                  <a:schemeClr val="tx1"/>
                </a:solidFill>
                <a:ea typeface="+mn-lt"/>
                <a:cs typeface="+mn-lt"/>
              </a:defRPr>
            </a:pPr>
            <a:r>
              <a:rPr lang="en-US" dirty="0"/>
              <a:t>O </a:t>
            </a:r>
            <a:r>
              <a:rPr lang="en-US" dirty="0" err="1"/>
              <a:t>EnglishConnect</a:t>
            </a:r>
            <a:r>
              <a:rPr dirty="0"/>
              <a:t>, um </a:t>
            </a:r>
            <a:r>
              <a:rPr dirty="0" err="1"/>
              <a:t>programa</a:t>
            </a:r>
            <a:r>
              <a:rPr dirty="0"/>
              <a:t> de </a:t>
            </a:r>
            <a:r>
              <a:rPr dirty="0" err="1"/>
              <a:t>aprendizagem</a:t>
            </a:r>
            <a:r>
              <a:rPr dirty="0"/>
              <a:t> de </a:t>
            </a:r>
            <a:r>
              <a:rPr dirty="0" err="1"/>
              <a:t>idiomas</a:t>
            </a:r>
            <a:r>
              <a:rPr dirty="0"/>
              <a:t>, é </a:t>
            </a:r>
            <a:r>
              <a:rPr dirty="0" err="1"/>
              <a:t>uma</a:t>
            </a:r>
            <a:r>
              <a:rPr dirty="0"/>
              <a:t> </a:t>
            </a:r>
            <a:r>
              <a:rPr dirty="0" err="1"/>
              <a:t>ótima</a:t>
            </a:r>
            <a:r>
              <a:rPr dirty="0"/>
              <a:t> </a:t>
            </a:r>
            <a:r>
              <a:rPr dirty="0" err="1"/>
              <a:t>opção</a:t>
            </a:r>
            <a:r>
              <a:rPr dirty="0"/>
              <a:t> para </a:t>
            </a:r>
            <a:r>
              <a:rPr dirty="0" err="1"/>
              <a:t>aqueles</a:t>
            </a:r>
            <a:r>
              <a:rPr dirty="0"/>
              <a:t> que </a:t>
            </a:r>
            <a:r>
              <a:rPr dirty="0" err="1"/>
              <a:t>precisam</a:t>
            </a:r>
            <a:r>
              <a:rPr dirty="0"/>
              <a:t> </a:t>
            </a:r>
            <a:r>
              <a:rPr dirty="0" err="1"/>
              <a:t>desenvolver</a:t>
            </a:r>
            <a:r>
              <a:rPr dirty="0"/>
              <a:t> </a:t>
            </a:r>
            <a:r>
              <a:rPr dirty="0" err="1"/>
              <a:t>ou</a:t>
            </a:r>
            <a:r>
              <a:rPr dirty="0"/>
              <a:t> </a:t>
            </a:r>
            <a:r>
              <a:rPr dirty="0" err="1"/>
              <a:t>melhorar</a:t>
            </a:r>
            <a:r>
              <a:rPr dirty="0"/>
              <a:t> </a:t>
            </a:r>
            <a:r>
              <a:rPr dirty="0" err="1"/>
              <a:t>suas</a:t>
            </a:r>
            <a:r>
              <a:rPr dirty="0"/>
              <a:t> </a:t>
            </a:r>
            <a:r>
              <a:rPr dirty="0" err="1"/>
              <a:t>habilidades</a:t>
            </a:r>
            <a:r>
              <a:rPr dirty="0"/>
              <a:t> </a:t>
            </a:r>
            <a:r>
              <a:rPr dirty="0" err="1"/>
              <a:t>em</a:t>
            </a:r>
            <a:r>
              <a:rPr dirty="0"/>
              <a:t> </a:t>
            </a:r>
            <a:r>
              <a:rPr dirty="0" err="1"/>
              <a:t>inglês</a:t>
            </a:r>
            <a:r>
              <a:rPr dirty="0"/>
              <a:t>.</a:t>
            </a:r>
            <a:endParaRPr lang="en-US" dirty="0">
              <a:solidFill>
                <a:schemeClr val="tx1"/>
              </a:solidFill>
            </a:endParaRPr>
          </a:p>
          <a:p>
            <a:pPr>
              <a:spcAft>
                <a:spcPts val="1200"/>
              </a:spcAft>
            </a:pPr>
            <a:endParaRPr lang="en-US" dirty="0">
              <a:solidFill>
                <a:schemeClr val="tx2"/>
              </a:solidFill>
              <a:ea typeface="Calibri" panose="020F0502020204030204"/>
              <a:cs typeface="Calibri"/>
            </a:endParaRPr>
          </a:p>
          <a:p>
            <a:pPr marL="342900" indent="-342900">
              <a:spcAft>
                <a:spcPts val="1000"/>
              </a:spcAft>
              <a:buFont typeface="Arial" panose="020B0604020202020204" pitchFamily="34" charset="0"/>
              <a:buChar char="•"/>
            </a:pPr>
            <a:endParaRPr lang="en-US" b="1" dirty="0">
              <a:solidFill>
                <a:schemeClr val="tx2"/>
              </a:solidFill>
              <a:cs typeface="Calibri"/>
            </a:endParaRPr>
          </a:p>
          <a:p>
            <a:pPr>
              <a:spcAft>
                <a:spcPts val="1000"/>
              </a:spcAft>
            </a:pPr>
            <a:endParaRPr lang="en-US" b="1" dirty="0">
              <a:solidFill>
                <a:schemeClr val="tx2"/>
              </a:solidFill>
              <a:cs typeface="Calibri"/>
            </a:endParaRPr>
          </a:p>
          <a:p>
            <a:pPr marL="342900" indent="-342900">
              <a:buFont typeface="Arial" panose="020B0604020202020204" pitchFamily="34" charset="0"/>
              <a:buChar char="•"/>
            </a:pPr>
            <a:endParaRPr lang="en-US" b="1" dirty="0">
              <a:solidFill>
                <a:schemeClr val="tx2"/>
              </a:solidFill>
              <a:cs typeface="Calibri"/>
            </a:endParaRPr>
          </a:p>
          <a:p>
            <a:endParaRPr lang="en-US" sz="1900" dirty="0">
              <a:solidFill>
                <a:schemeClr val="tx2">
                  <a:lumMod val="90000"/>
                  <a:lumOff val="10000"/>
                </a:schemeClr>
              </a:solidFill>
              <a:cs typeface="Calibri"/>
            </a:endParaRPr>
          </a:p>
        </p:txBody>
      </p:sp>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5761036" y="164894"/>
            <a:ext cx="6755593" cy="125850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rPr err="1"/>
              <a:t>Comece</a:t>
            </a:r>
            <a:r>
              <a:t> com</a:t>
            </a:r>
            <a:r>
              <a:rPr lang="en-US"/>
              <a:t> o </a:t>
            </a:r>
            <a:br>
              <a:rPr lang="en-US" sz="4400">
                <a:latin typeface="+mj-lt"/>
              </a:rPr>
            </a:br>
            <a:r>
              <a:rPr lang="en-US" err="1"/>
              <a:t>PathwayConnect</a:t>
            </a:r>
            <a:endParaRPr lang="en-US" err="1">
              <a:cs typeface="Calibri Light"/>
            </a:endParaRPr>
          </a:p>
        </p:txBody>
      </p:sp>
      <p:pic>
        <p:nvPicPr>
          <p:cNvPr id="12" name="Picture 11">
            <a:extLst>
              <a:ext uri="{FF2B5EF4-FFF2-40B4-BE49-F238E27FC236}">
                <a16:creationId xmlns:a16="http://schemas.microsoft.com/office/drawing/2014/main" id="{848AE5ED-AEA5-53A8-FEEA-391430F96CA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0"/>
            <a:ext cx="5237200" cy="6858000"/>
          </a:xfrm>
          <a:prstGeom prst="rect">
            <a:avLst/>
          </a:prstGeom>
        </p:spPr>
      </p:pic>
    </p:spTree>
    <p:extLst>
      <p:ext uri="{BB962C8B-B14F-4D97-AF65-F5344CB8AC3E}">
        <p14:creationId xmlns:p14="http://schemas.microsoft.com/office/powerpoint/2010/main" val="427064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3">
            <a:extLst>
              <a:ext uri="{FF2B5EF4-FFF2-40B4-BE49-F238E27FC236}">
                <a16:creationId xmlns:a16="http://schemas.microsoft.com/office/drawing/2014/main" id="{CDE96708-9585-B749-8529-C49291D3B33A}"/>
              </a:ext>
            </a:extLst>
          </p:cNvPr>
          <p:cNvSpPr txBox="1">
            <a:spLocks/>
          </p:cNvSpPr>
          <p:nvPr/>
        </p:nvSpPr>
        <p:spPr>
          <a:xfrm>
            <a:off x="8796528" y="6370638"/>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5</a:t>
            </a:fld>
            <a:endParaRPr lang="en-US"/>
          </a:p>
        </p:txBody>
      </p:sp>
      <p:sp>
        <p:nvSpPr>
          <p:cNvPr id="10" name="Rectangle 9">
            <a:extLst>
              <a:ext uri="{FF2B5EF4-FFF2-40B4-BE49-F238E27FC236}">
                <a16:creationId xmlns:a16="http://schemas.microsoft.com/office/drawing/2014/main" id="{0D4EE89B-F66F-EBDD-50D2-5BD046747D71}"/>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Text  Description automatically generated">
            <a:extLst>
              <a:ext uri="{FF2B5EF4-FFF2-40B4-BE49-F238E27FC236}">
                <a16:creationId xmlns:a16="http://schemas.microsoft.com/office/drawing/2014/main" id="{1F1FB6F8-2804-0CF9-F8A4-52BE128B71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15" name="Text Placeholder 1">
            <a:extLst>
              <a:ext uri="{FF2B5EF4-FFF2-40B4-BE49-F238E27FC236}">
                <a16:creationId xmlns:a16="http://schemas.microsoft.com/office/drawing/2014/main" id="{2180867A-7A2D-8F56-6F3F-4282B2D6FEA7}"/>
              </a:ext>
            </a:extLst>
          </p:cNvPr>
          <p:cNvSpPr txBox="1">
            <a:spLocks/>
          </p:cNvSpPr>
          <p:nvPr/>
        </p:nvSpPr>
        <p:spPr>
          <a:xfrm>
            <a:off x="873273" y="593959"/>
            <a:ext cx="5390931"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Construa um Diploma </a:t>
            </a:r>
          </a:p>
          <a:p>
            <a:pPr marL="0" indent="0">
              <a:buFont typeface="Arial"/>
              <a:buNone/>
              <a:defRPr sz="4400">
                <a:latin typeface="+mj-lt"/>
              </a:defRPr>
            </a:pPr>
            <a:r>
              <a:t>com Certificados </a:t>
            </a:r>
          </a:p>
        </p:txBody>
      </p:sp>
      <p:sp>
        <p:nvSpPr>
          <p:cNvPr id="16" name="Rectangle 15">
            <a:extLst>
              <a:ext uri="{FF2B5EF4-FFF2-40B4-BE49-F238E27FC236}">
                <a16:creationId xmlns:a16="http://schemas.microsoft.com/office/drawing/2014/main" id="{A4C92C61-E294-ECD3-90F3-9A44ECE5A61A}"/>
              </a:ext>
            </a:extLst>
          </p:cNvPr>
          <p:cNvSpPr/>
          <p:nvPr/>
        </p:nvSpPr>
        <p:spPr>
          <a:xfrm>
            <a:off x="873788" y="2091221"/>
            <a:ext cx="4323847" cy="1935786"/>
          </a:xfrm>
          <a:prstGeom prst="rect">
            <a:avLst/>
          </a:prstGeom>
        </p:spPr>
        <p:txBody>
          <a:bodyPr wrap="square" lIns="91440" tIns="45720" rIns="91440" bIns="45720" anchor="t">
            <a:spAutoFit/>
          </a:bodyPr>
          <a:lstStyle/>
          <a:p>
            <a:pPr>
              <a:lnSpc>
                <a:spcPct val="110000"/>
              </a:lnSpc>
              <a:defRPr sz="2200"/>
            </a:pPr>
            <a:r>
              <a:t>Para construir um diploma, você seleciona três certificados que se agrupam em um diploma de associado, </a:t>
            </a:r>
            <a:r>
              <a:rPr i="1"/>
              <a:t>bem como </a:t>
            </a:r>
            <a:r>
              <a:t>um diploma de bacharel.</a:t>
            </a:r>
          </a:p>
        </p:txBody>
      </p:sp>
      <p:pic>
        <p:nvPicPr>
          <p:cNvPr id="3" name="Picture 2" descr="A blue rectangular sign with white text&#10;&#10;Description automatically generated">
            <a:extLst>
              <a:ext uri="{FF2B5EF4-FFF2-40B4-BE49-F238E27FC236}">
                <a16:creationId xmlns:a16="http://schemas.microsoft.com/office/drawing/2014/main" id="{DD47FAD8-AD10-E57E-FBD1-C7CEB01A552A}"/>
              </a:ext>
            </a:extLst>
          </p:cNvPr>
          <p:cNvPicPr>
            <a:picLocks noChangeAspect="1"/>
          </p:cNvPicPr>
          <p:nvPr/>
        </p:nvPicPr>
        <p:blipFill>
          <a:blip r:embed="rId5"/>
          <a:stretch>
            <a:fillRect/>
          </a:stretch>
        </p:blipFill>
        <p:spPr>
          <a:xfrm>
            <a:off x="4292922" y="2698897"/>
            <a:ext cx="7090725" cy="3393872"/>
          </a:xfrm>
          <a:prstGeom prst="rect">
            <a:avLst/>
          </a:prstGeom>
        </p:spPr>
      </p:pic>
    </p:spTree>
    <p:extLst>
      <p:ext uri="{BB962C8B-B14F-4D97-AF65-F5344CB8AC3E}">
        <p14:creationId xmlns:p14="http://schemas.microsoft.com/office/powerpoint/2010/main" val="1507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AFACB6B-8F7A-9A50-B603-C4DB727958A5}"/>
              </a:ext>
            </a:extLst>
          </p:cNvPr>
          <p:cNvSpPr/>
          <p:nvPr/>
        </p:nvSpPr>
        <p:spPr>
          <a:xfrm>
            <a:off x="347433" y="3034759"/>
            <a:ext cx="10132071" cy="362191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accent3"/>
              </a:solidFill>
            </a:endParaRPr>
          </a:p>
        </p:txBody>
      </p:sp>
      <p:sp>
        <p:nvSpPr>
          <p:cNvPr id="4" name="TextBox 3">
            <a:extLst>
              <a:ext uri="{FF2B5EF4-FFF2-40B4-BE49-F238E27FC236}">
                <a16:creationId xmlns:a16="http://schemas.microsoft.com/office/drawing/2014/main" id="{0C2CC212-77F9-9146-BFC8-8B9AE9AAB8A6}"/>
              </a:ext>
            </a:extLst>
          </p:cNvPr>
          <p:cNvSpPr txBox="1"/>
          <p:nvPr/>
        </p:nvSpPr>
        <p:spPr>
          <a:xfrm>
            <a:off x="8964930" y="739751"/>
            <a:ext cx="184731" cy="369332"/>
          </a:xfrm>
          <a:prstGeom prst="rect">
            <a:avLst/>
          </a:prstGeom>
          <a:noFill/>
        </p:spPr>
        <p:txBody>
          <a:bodyPr wrap="none">
            <a:spAutoFit/>
          </a:bodyPr>
          <a:lstStyle/>
          <a:p>
            <a:endParaRPr lang="en-US"/>
          </a:p>
        </p:txBody>
      </p:sp>
      <p:sp>
        <p:nvSpPr>
          <p:cNvPr id="25" name="Text Placeholder 1">
            <a:extLst>
              <a:ext uri="{FF2B5EF4-FFF2-40B4-BE49-F238E27FC236}">
                <a16:creationId xmlns:a16="http://schemas.microsoft.com/office/drawing/2014/main" id="{A07D95AC-7670-0242-AED5-8D9CFC4B487B}"/>
              </a:ext>
            </a:extLst>
          </p:cNvPr>
          <p:cNvSpPr txBox="1">
            <a:spLocks/>
          </p:cNvSpPr>
          <p:nvPr/>
        </p:nvSpPr>
        <p:spPr>
          <a:xfrm>
            <a:off x="347433" y="538417"/>
            <a:ext cx="6955575"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t>Ofertas do Programa</a:t>
            </a:r>
          </a:p>
        </p:txBody>
      </p:sp>
      <p:sp>
        <p:nvSpPr>
          <p:cNvPr id="2" name="Text Placeholder 1">
            <a:extLst>
              <a:ext uri="{FF2B5EF4-FFF2-40B4-BE49-F238E27FC236}">
                <a16:creationId xmlns:a16="http://schemas.microsoft.com/office/drawing/2014/main" id="{6CC1E558-4DAA-386B-1179-C0D0BB178547}"/>
              </a:ext>
            </a:extLst>
          </p:cNvPr>
          <p:cNvSpPr txBox="1">
            <a:spLocks/>
          </p:cNvSpPr>
          <p:nvPr/>
        </p:nvSpPr>
        <p:spPr>
          <a:xfrm>
            <a:off x="473894" y="3185363"/>
            <a:ext cx="3327867" cy="375127"/>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000" b="1">
                <a:latin typeface="Calibri" panose="020F0502020204030204" pitchFamily="34" charset="0"/>
                <a:cs typeface="Calibri" panose="020F0502020204030204" pitchFamily="34" charset="0"/>
              </a:defRPr>
            </a:pPr>
            <a:r>
              <a:t>CERTIFICADOS</a:t>
            </a:r>
          </a:p>
        </p:txBody>
      </p:sp>
      <p:sp>
        <p:nvSpPr>
          <p:cNvPr id="5" name="TextBox 4">
            <a:extLst>
              <a:ext uri="{FF2B5EF4-FFF2-40B4-BE49-F238E27FC236}">
                <a16:creationId xmlns:a16="http://schemas.microsoft.com/office/drawing/2014/main" id="{85A8D91E-9E2B-3E60-BC05-352ECCCECD29}"/>
              </a:ext>
            </a:extLst>
          </p:cNvPr>
          <p:cNvSpPr txBox="1"/>
          <p:nvPr/>
        </p:nvSpPr>
        <p:spPr>
          <a:xfrm>
            <a:off x="473893" y="3611913"/>
            <a:ext cx="10005611" cy="2937921"/>
          </a:xfrm>
          <a:prstGeom prst="rect">
            <a:avLst/>
          </a:prstGeom>
          <a:noFill/>
        </p:spPr>
        <p:txBody>
          <a:bodyPr wrap="square" lIns="91440" tIns="45720" rIns="91440" bIns="45720" numCol="3" anchor="t">
            <a:noAutofit/>
          </a:bodyPr>
          <a:lstStyle/>
          <a:p>
            <a:pPr>
              <a:spcAft>
                <a:spcPts val="600"/>
              </a:spcAft>
              <a:defRPr sz="1400">
                <a:solidFill>
                  <a:srgbClr val="3F3F3F"/>
                </a:solidFill>
                <a:effectLst/>
                <a:latin typeface="Zoram ldsLat"/>
              </a:defRPr>
            </a:pPr>
            <a:r>
              <a:rPr dirty="0" err="1"/>
              <a:t>Assistente</a:t>
            </a:r>
            <a:r>
              <a:rPr dirty="0"/>
              <a:t> </a:t>
            </a:r>
            <a:r>
              <a:rPr dirty="0" err="1"/>
              <a:t>Administrativo</a:t>
            </a:r>
            <a:endParaRPr lang="en-US" dirty="0"/>
          </a:p>
          <a:p>
            <a:pPr>
              <a:spcAft>
                <a:spcPts val="600"/>
              </a:spcAft>
              <a:defRPr sz="1400">
                <a:solidFill>
                  <a:srgbClr val="3F3F3F"/>
                </a:solidFill>
                <a:effectLst/>
                <a:latin typeface="Zoram ldsLat"/>
              </a:defRPr>
            </a:pPr>
            <a:r>
              <a:rPr dirty="0"/>
              <a:t>Pesquisa </a:t>
            </a:r>
            <a:r>
              <a:rPr dirty="0" err="1"/>
              <a:t>Avançada</a:t>
            </a:r>
            <a:r>
              <a:rPr dirty="0"/>
              <a:t> de </a:t>
            </a:r>
            <a:r>
              <a:rPr dirty="0" err="1"/>
              <a:t>História</a:t>
            </a:r>
            <a:r>
              <a:rPr dirty="0"/>
              <a:t> da </a:t>
            </a:r>
            <a:r>
              <a:rPr dirty="0" err="1"/>
              <a:t>Família</a:t>
            </a:r>
            <a:endParaRPr dirty="0"/>
          </a:p>
          <a:p>
            <a:pPr>
              <a:spcAft>
                <a:spcPts val="600"/>
              </a:spcAft>
              <a:defRPr sz="1400">
                <a:solidFill>
                  <a:srgbClr val="3F3F3F"/>
                </a:solidFill>
                <a:effectLst/>
                <a:latin typeface="Zoram ldsLat"/>
              </a:defRPr>
            </a:pPr>
            <a:r>
              <a:rPr dirty="0" err="1"/>
              <a:t>Contabilidade</a:t>
            </a:r>
            <a:r>
              <a:rPr dirty="0"/>
              <a:t> </a:t>
            </a:r>
            <a:r>
              <a:rPr dirty="0" err="1"/>
              <a:t>Básica</a:t>
            </a:r>
            <a:endParaRPr dirty="0"/>
          </a:p>
          <a:p>
            <a:pPr>
              <a:spcAft>
                <a:spcPts val="600"/>
              </a:spcAft>
              <a:defRPr sz="1400">
                <a:solidFill>
                  <a:srgbClr val="3F3F3F"/>
                </a:solidFill>
                <a:effectLst/>
                <a:latin typeface="Zoram ldsLat"/>
              </a:defRPr>
            </a:pPr>
            <a:r>
              <a:rPr dirty="0" err="1"/>
              <a:t>Administração</a:t>
            </a:r>
            <a:r>
              <a:rPr dirty="0"/>
              <a:t> de </a:t>
            </a:r>
            <a:r>
              <a:rPr dirty="0" err="1"/>
              <a:t>Empresas</a:t>
            </a:r>
            <a:endParaRPr dirty="0"/>
          </a:p>
          <a:p>
            <a:pPr>
              <a:spcAft>
                <a:spcPts val="600"/>
              </a:spcAft>
              <a:defRPr sz="1400">
                <a:solidFill>
                  <a:srgbClr val="3F3F3F"/>
                </a:solidFill>
                <a:effectLst/>
                <a:latin typeface="Zoram ldsLat"/>
              </a:defRPr>
            </a:pPr>
            <a:r>
              <a:rPr dirty="0" err="1"/>
              <a:t>Habilidades</a:t>
            </a:r>
            <a:r>
              <a:rPr dirty="0"/>
              <a:t> de </a:t>
            </a:r>
            <a:r>
              <a:rPr dirty="0" err="1"/>
              <a:t>Liderança</a:t>
            </a:r>
            <a:r>
              <a:rPr dirty="0"/>
              <a:t> </a:t>
            </a:r>
            <a:r>
              <a:rPr dirty="0" err="1"/>
              <a:t>em</a:t>
            </a:r>
            <a:r>
              <a:rPr dirty="0"/>
              <a:t> </a:t>
            </a:r>
            <a:r>
              <a:rPr dirty="0" err="1"/>
              <a:t>Negócios</a:t>
            </a:r>
            <a:r>
              <a:rPr lang="en-US" dirty="0"/>
              <a:t> </a:t>
            </a:r>
            <a:endParaRPr dirty="0"/>
          </a:p>
          <a:p>
            <a:pPr>
              <a:spcAft>
                <a:spcPts val="600"/>
              </a:spcAft>
              <a:defRPr sz="1400">
                <a:solidFill>
                  <a:srgbClr val="3F3F3F"/>
                </a:solidFill>
                <a:effectLst/>
                <a:latin typeface="Zoram ldsLat"/>
              </a:defRPr>
            </a:pPr>
            <a:r>
              <a:rPr dirty="0" err="1"/>
              <a:t>Fundamentos</a:t>
            </a:r>
            <a:r>
              <a:rPr dirty="0"/>
              <a:t> </a:t>
            </a:r>
            <a:r>
              <a:rPr dirty="0" err="1"/>
              <a:t>Comerciais</a:t>
            </a:r>
            <a:endParaRPr dirty="0"/>
          </a:p>
          <a:p>
            <a:pPr>
              <a:spcAft>
                <a:spcPts val="600"/>
              </a:spcAft>
              <a:defRPr sz="1400">
                <a:solidFill>
                  <a:srgbClr val="3F3F3F"/>
                </a:solidFill>
                <a:effectLst/>
                <a:latin typeface="Zoram ldsLat"/>
              </a:defRPr>
            </a:pPr>
            <a:r>
              <a:rPr dirty="0" err="1"/>
              <a:t>Essenciais</a:t>
            </a:r>
            <a:r>
              <a:rPr dirty="0"/>
              <a:t> de Comunicação</a:t>
            </a:r>
          </a:p>
          <a:p>
            <a:pPr>
              <a:spcAft>
                <a:spcPts val="600"/>
              </a:spcAft>
              <a:defRPr sz="1400">
                <a:solidFill>
                  <a:srgbClr val="3F3F3F"/>
                </a:solidFill>
                <a:effectLst/>
                <a:latin typeface="Zoram ldsLat"/>
              </a:defRPr>
            </a:pPr>
            <a:r>
              <a:rPr dirty="0" err="1"/>
              <a:t>Fundamentos</a:t>
            </a:r>
            <a:r>
              <a:rPr dirty="0"/>
              <a:t> de Comunicação</a:t>
            </a:r>
          </a:p>
          <a:p>
            <a:pPr>
              <a:spcAft>
                <a:spcPts val="600"/>
              </a:spcAft>
              <a:defRPr sz="1400">
                <a:solidFill>
                  <a:srgbClr val="3F3F3F"/>
                </a:solidFill>
                <a:effectLst/>
                <a:latin typeface="Zoram ldsLat"/>
              </a:defRPr>
            </a:pPr>
            <a:r>
              <a:rPr lang="en-US" sz="1400" dirty="0" err="1">
                <a:solidFill>
                  <a:srgbClr val="333333"/>
                </a:solidFill>
                <a:latin typeface="Zoram ldsLat"/>
                <a:cs typeface="Segoe UI"/>
              </a:rPr>
              <a:t>Saúde</a:t>
            </a:r>
            <a:r>
              <a:rPr lang="en-US" sz="1400" dirty="0">
                <a:solidFill>
                  <a:srgbClr val="333333"/>
                </a:solidFill>
                <a:latin typeface="Zoram ldsLat"/>
                <a:cs typeface="Segoe UI"/>
              </a:rPr>
              <a:t> de </a:t>
            </a:r>
            <a:r>
              <a:rPr lang="en-US" sz="1400" dirty="0" err="1">
                <a:solidFill>
                  <a:srgbClr val="333333"/>
                </a:solidFill>
                <a:latin typeface="Zoram ldsLat"/>
                <a:cs typeface="Segoe UI"/>
              </a:rPr>
              <a:t>Comunidade</a:t>
            </a:r>
            <a:r>
              <a:rPr lang="en-US" sz="1400" dirty="0">
                <a:solidFill>
                  <a:srgbClr val="333333"/>
                </a:solidFill>
                <a:latin typeface="Zoram ldsLat"/>
                <a:cs typeface="Segoe UI"/>
              </a:rPr>
              <a:t> &amp; </a:t>
            </a:r>
            <a:r>
              <a:rPr lang="en-US" sz="1400" dirty="0" err="1">
                <a:solidFill>
                  <a:srgbClr val="333333"/>
                </a:solidFill>
                <a:latin typeface="Zoram ldsLat"/>
                <a:cs typeface="Segoe UI"/>
              </a:rPr>
              <a:t>Ambiente</a:t>
            </a:r>
            <a:endParaRPr sz="1400" dirty="0">
              <a:latin typeface="Zoram ldsLat"/>
            </a:endParaRPr>
          </a:p>
          <a:p>
            <a:pPr>
              <a:spcAft>
                <a:spcPts val="600"/>
              </a:spcAft>
              <a:defRPr sz="1400">
                <a:solidFill>
                  <a:srgbClr val="3F3F3F"/>
                </a:solidFill>
                <a:effectLst/>
                <a:latin typeface="Zoram ldsLat"/>
              </a:defRPr>
            </a:pPr>
            <a:r>
              <a:rPr dirty="0" err="1"/>
              <a:t>Empreendedorismo</a:t>
            </a:r>
            <a:endParaRPr dirty="0"/>
          </a:p>
          <a:p>
            <a:pPr>
              <a:spcAft>
                <a:spcPts val="600"/>
              </a:spcAft>
              <a:defRPr sz="1400">
                <a:solidFill>
                  <a:srgbClr val="3F3F3F"/>
                </a:solidFill>
                <a:effectLst/>
                <a:latin typeface="Zoram ldsLat"/>
              </a:defRPr>
            </a:pPr>
            <a:r>
              <a:rPr dirty="0"/>
              <a:t>Pesquisa de </a:t>
            </a:r>
            <a:r>
              <a:rPr dirty="0" err="1"/>
              <a:t>História</a:t>
            </a:r>
            <a:r>
              <a:rPr dirty="0"/>
              <a:t> da </a:t>
            </a:r>
            <a:r>
              <a:rPr dirty="0" err="1"/>
              <a:t>Família</a:t>
            </a:r>
            <a:endParaRPr dirty="0"/>
          </a:p>
          <a:p>
            <a:pPr>
              <a:spcAft>
                <a:spcPts val="600"/>
              </a:spcAft>
              <a:defRPr sz="1400">
                <a:solidFill>
                  <a:srgbClr val="3F3F3F"/>
                </a:solidFill>
                <a:effectLst/>
                <a:latin typeface="Zoram ldsLat"/>
              </a:defRPr>
            </a:pPr>
            <a:r>
              <a:rPr dirty="0" err="1"/>
              <a:t>Relações</a:t>
            </a:r>
            <a:r>
              <a:rPr dirty="0"/>
              <a:t> </a:t>
            </a:r>
            <a:r>
              <a:rPr dirty="0" err="1"/>
              <a:t>Familiares</a:t>
            </a:r>
            <a:endParaRPr dirty="0"/>
          </a:p>
          <a:p>
            <a:pPr>
              <a:spcAft>
                <a:spcPts val="600"/>
              </a:spcAft>
              <a:defRPr sz="1400">
                <a:solidFill>
                  <a:srgbClr val="3F3F3F"/>
                </a:solidFill>
                <a:effectLst/>
                <a:latin typeface="Zoram ldsLat"/>
              </a:defRPr>
            </a:pPr>
            <a:r>
              <a:rPr dirty="0"/>
              <a:t>Serviços para </a:t>
            </a:r>
            <a:r>
              <a:rPr lang="en-US" dirty="0" err="1"/>
              <a:t>Famílias</a:t>
            </a:r>
            <a:endParaRPr dirty="0" err="1"/>
          </a:p>
          <a:p>
            <a:pPr>
              <a:spcAft>
                <a:spcPts val="600"/>
              </a:spcAft>
              <a:defRPr sz="1400">
                <a:solidFill>
                  <a:srgbClr val="3F3F3F"/>
                </a:solidFill>
                <a:effectLst/>
                <a:latin typeface="Zoram ldsLat"/>
              </a:defRPr>
            </a:pPr>
            <a:r>
              <a:rPr dirty="0"/>
              <a:t>Teoria da </a:t>
            </a:r>
            <a:r>
              <a:rPr dirty="0" err="1"/>
              <a:t>Família</a:t>
            </a:r>
            <a:r>
              <a:rPr dirty="0"/>
              <a:t> e Pesquisa</a:t>
            </a:r>
          </a:p>
          <a:p>
            <a:pPr>
              <a:spcAft>
                <a:spcPts val="600"/>
              </a:spcAft>
              <a:defRPr sz="1400">
                <a:solidFill>
                  <a:srgbClr val="3F3F3F"/>
                </a:solidFill>
                <a:effectLst/>
                <a:latin typeface="Zoram ldsLat"/>
              </a:defRPr>
            </a:pPr>
            <a:r>
              <a:rPr dirty="0" err="1"/>
              <a:t>Fundamentos</a:t>
            </a:r>
            <a:r>
              <a:rPr dirty="0"/>
              <a:t> de Design </a:t>
            </a:r>
            <a:r>
              <a:rPr dirty="0" err="1"/>
              <a:t>Gráfico</a:t>
            </a:r>
            <a:endParaRPr dirty="0"/>
          </a:p>
          <a:p>
            <a:pPr>
              <a:spcAft>
                <a:spcPts val="600"/>
              </a:spcAft>
              <a:defRPr sz="1400">
                <a:solidFill>
                  <a:srgbClr val="3F3F3F"/>
                </a:solidFill>
                <a:effectLst/>
                <a:latin typeface="Zoram ldsLat"/>
              </a:defRPr>
            </a:pPr>
            <a:r>
              <a:rPr dirty="0" err="1"/>
              <a:t>Avaliação</a:t>
            </a:r>
            <a:r>
              <a:rPr dirty="0"/>
              <a:t> de </a:t>
            </a:r>
            <a:r>
              <a:rPr dirty="0" err="1"/>
              <a:t>Programas</a:t>
            </a:r>
            <a:r>
              <a:rPr dirty="0"/>
              <a:t> de </a:t>
            </a:r>
            <a:r>
              <a:rPr dirty="0" err="1"/>
              <a:t>Saúde</a:t>
            </a:r>
            <a:endParaRPr dirty="0"/>
          </a:p>
          <a:p>
            <a:pPr>
              <a:spcAft>
                <a:spcPts val="600"/>
              </a:spcAft>
              <a:defRPr sz="1400">
                <a:solidFill>
                  <a:srgbClr val="3F3F3F"/>
                </a:solidFill>
                <a:effectLst/>
                <a:latin typeface="Zoram ldsLat"/>
              </a:defRPr>
            </a:pPr>
            <a:r>
              <a:rPr dirty="0" err="1"/>
              <a:t>Estratégias</a:t>
            </a:r>
            <a:r>
              <a:rPr dirty="0"/>
              <a:t> de </a:t>
            </a:r>
            <a:r>
              <a:rPr dirty="0" err="1"/>
              <a:t>Programas</a:t>
            </a:r>
            <a:r>
              <a:rPr dirty="0"/>
              <a:t> de </a:t>
            </a:r>
            <a:r>
              <a:rPr dirty="0" err="1"/>
              <a:t>Saúde</a:t>
            </a:r>
            <a:endParaRPr dirty="0"/>
          </a:p>
          <a:p>
            <a:pPr>
              <a:spcAft>
                <a:spcPts val="600"/>
              </a:spcAft>
              <a:defRPr sz="1400">
                <a:solidFill>
                  <a:srgbClr val="3F3F3F"/>
                </a:solidFill>
                <a:latin typeface="Zoram ldsLat"/>
              </a:defRPr>
            </a:pPr>
            <a:r>
              <a:rPr dirty="0" err="1">
                <a:effectLst/>
              </a:rPr>
              <a:t>Gestão</a:t>
            </a:r>
            <a:r>
              <a:rPr dirty="0">
                <a:effectLst/>
              </a:rPr>
              <a:t> de </a:t>
            </a:r>
            <a:r>
              <a:rPr dirty="0" err="1">
                <a:effectLst/>
              </a:rPr>
              <a:t>Hotelaria</a:t>
            </a:r>
            <a:r>
              <a:rPr dirty="0">
                <a:effectLst/>
              </a:rPr>
              <a:t> &amp; Turismo</a:t>
            </a:r>
            <a:endParaRPr lang="en-US" sz="1400" dirty="0">
              <a:solidFill>
                <a:srgbClr val="3F3F3F"/>
              </a:solidFill>
              <a:effectLst/>
              <a:latin typeface="Zoram ldsLat" panose="020B0603030504020204" pitchFamily="34" charset="0"/>
            </a:endParaRPr>
          </a:p>
          <a:p>
            <a:pPr>
              <a:spcAft>
                <a:spcPts val="600"/>
              </a:spcAft>
              <a:defRPr sz="1400">
                <a:solidFill>
                  <a:srgbClr val="3F3F3F"/>
                </a:solidFill>
                <a:latin typeface="Zoram ldsLat"/>
              </a:defRPr>
            </a:pPr>
            <a:r>
              <a:rPr dirty="0" err="1">
                <a:effectLst/>
              </a:rPr>
              <a:t>Fundamentos</a:t>
            </a:r>
            <a:r>
              <a:rPr dirty="0">
                <a:effectLst/>
              </a:rPr>
              <a:t> de </a:t>
            </a:r>
            <a:r>
              <a:rPr dirty="0" err="1">
                <a:effectLst/>
              </a:rPr>
              <a:t>Faturamento</a:t>
            </a:r>
            <a:r>
              <a:rPr dirty="0">
                <a:effectLst/>
              </a:rPr>
              <a:t> Médico &amp; </a:t>
            </a:r>
            <a:r>
              <a:rPr dirty="0" err="1">
                <a:effectLst/>
              </a:rPr>
              <a:t>Codificação</a:t>
            </a:r>
            <a:r>
              <a:rPr lang="en-US" dirty="0"/>
              <a:t> </a:t>
            </a:r>
            <a:endParaRPr lang="en-US" sz="1400" dirty="0">
              <a:solidFill>
                <a:srgbClr val="3F3F3F"/>
              </a:solidFill>
              <a:effectLst/>
              <a:latin typeface="Zoram ldsLat" panose="020B0603030504020204" pitchFamily="34" charset="0"/>
            </a:endParaRPr>
          </a:p>
          <a:p>
            <a:pPr>
              <a:spcAft>
                <a:spcPts val="600"/>
              </a:spcAft>
              <a:defRPr sz="1400">
                <a:solidFill>
                  <a:srgbClr val="3F3F3F"/>
                </a:solidFill>
                <a:effectLst/>
                <a:latin typeface="Zoram ldsLat"/>
              </a:defRPr>
            </a:pPr>
            <a:r>
              <a:rPr lang="en-US" dirty="0" err="1"/>
              <a:t>Fundamentos</a:t>
            </a:r>
            <a:r>
              <a:rPr lang="en-US" dirty="0"/>
              <a:t> de TI</a:t>
            </a:r>
          </a:p>
          <a:p>
            <a:pPr>
              <a:spcAft>
                <a:spcPts val="600"/>
              </a:spcAft>
              <a:defRPr sz="1400">
                <a:solidFill>
                  <a:srgbClr val="3F3F3F"/>
                </a:solidFill>
                <a:effectLst/>
                <a:latin typeface="Zoram ldsLat"/>
              </a:defRPr>
            </a:pPr>
            <a:r>
              <a:rPr dirty="0" err="1"/>
              <a:t>Gerência</a:t>
            </a:r>
            <a:r>
              <a:rPr dirty="0"/>
              <a:t> de </a:t>
            </a:r>
            <a:r>
              <a:rPr lang="en-US" dirty="0" err="1"/>
              <a:t>Projetos</a:t>
            </a:r>
            <a:endParaRPr dirty="0" err="1"/>
          </a:p>
          <a:p>
            <a:pPr>
              <a:spcAft>
                <a:spcPts val="600"/>
              </a:spcAft>
              <a:defRPr sz="1400">
                <a:solidFill>
                  <a:srgbClr val="3F3F3F"/>
                </a:solidFill>
                <a:effectLst/>
                <a:latin typeface="Zoram ldsLat"/>
              </a:defRPr>
            </a:pPr>
            <a:r>
              <a:rPr dirty="0"/>
              <a:t>Marketing </a:t>
            </a:r>
            <a:r>
              <a:rPr dirty="0" err="1"/>
              <a:t>nas</a:t>
            </a:r>
            <a:r>
              <a:rPr dirty="0"/>
              <a:t> Redes </a:t>
            </a:r>
            <a:r>
              <a:rPr dirty="0" err="1"/>
              <a:t>Sociais</a:t>
            </a:r>
            <a:endParaRPr dirty="0"/>
          </a:p>
          <a:p>
            <a:pPr>
              <a:spcAft>
                <a:spcPts val="600"/>
              </a:spcAft>
              <a:defRPr sz="1400">
                <a:solidFill>
                  <a:srgbClr val="3F3F3F"/>
                </a:solidFill>
                <a:effectLst/>
                <a:latin typeface="Zoram ldsLat"/>
              </a:defRPr>
            </a:pPr>
            <a:r>
              <a:rPr dirty="0" err="1"/>
              <a:t>Desenvolvimento</a:t>
            </a:r>
            <a:r>
              <a:rPr dirty="0"/>
              <a:t> de Software</a:t>
            </a:r>
          </a:p>
          <a:p>
            <a:pPr>
              <a:spcAft>
                <a:spcPts val="600"/>
              </a:spcAft>
              <a:defRPr sz="1400">
                <a:solidFill>
                  <a:srgbClr val="3F3F3F"/>
                </a:solidFill>
                <a:effectLst/>
                <a:latin typeface="Zoram ldsLat"/>
              </a:defRPr>
            </a:pPr>
            <a:r>
              <a:rPr dirty="0" err="1"/>
              <a:t>Administração</a:t>
            </a:r>
            <a:r>
              <a:rPr dirty="0"/>
              <a:t> de Sistemas</a:t>
            </a:r>
          </a:p>
          <a:p>
            <a:pPr>
              <a:spcAft>
                <a:spcPts val="600"/>
              </a:spcAft>
              <a:defRPr sz="1400">
                <a:solidFill>
                  <a:srgbClr val="3F3F3F"/>
                </a:solidFill>
                <a:effectLst/>
                <a:latin typeface="Zoram ldsLat"/>
              </a:defRPr>
            </a:pPr>
            <a:r>
              <a:rPr dirty="0" err="1"/>
              <a:t>Engenheiro</a:t>
            </a:r>
            <a:r>
              <a:rPr dirty="0"/>
              <a:t> de </a:t>
            </a:r>
            <a:r>
              <a:rPr dirty="0" err="1"/>
              <a:t>Suporte</a:t>
            </a:r>
            <a:r>
              <a:rPr dirty="0"/>
              <a:t> Técnico</a:t>
            </a:r>
          </a:p>
          <a:p>
            <a:pPr>
              <a:spcAft>
                <a:spcPts val="600"/>
              </a:spcAft>
              <a:defRPr sz="1400">
                <a:solidFill>
                  <a:srgbClr val="3F3F3F"/>
                </a:solidFill>
                <a:effectLst/>
                <a:latin typeface="Zoram ldsLat"/>
              </a:defRPr>
            </a:pPr>
            <a:r>
              <a:rPr dirty="0"/>
              <a:t>TEFL</a:t>
            </a:r>
          </a:p>
          <a:p>
            <a:pPr>
              <a:spcAft>
                <a:spcPts val="600"/>
              </a:spcAft>
              <a:defRPr sz="1400">
                <a:solidFill>
                  <a:srgbClr val="3F3F3F"/>
                </a:solidFill>
                <a:effectLst/>
                <a:latin typeface="Zoram ldsLat"/>
              </a:defRPr>
            </a:pPr>
            <a:r>
              <a:rPr dirty="0"/>
              <a:t>Programação de</a:t>
            </a:r>
            <a:r>
              <a:rPr lang="en-US" dirty="0"/>
              <a:t> Web &amp;</a:t>
            </a:r>
            <a:r>
              <a:rPr dirty="0"/>
              <a:t> Computadores</a:t>
            </a:r>
          </a:p>
          <a:p>
            <a:pPr>
              <a:spcAft>
                <a:spcPts val="600"/>
              </a:spcAft>
              <a:defRPr sz="1400">
                <a:solidFill>
                  <a:srgbClr val="3F3F3F"/>
                </a:solidFill>
                <a:effectLst/>
                <a:latin typeface="Zoram ldsLat"/>
              </a:defRPr>
            </a:pPr>
            <a:r>
              <a:rPr dirty="0" err="1"/>
              <a:t>Desenvolvimento</a:t>
            </a:r>
            <a:r>
              <a:rPr lang="en-US" dirty="0"/>
              <a:t> Web</a:t>
            </a:r>
            <a:endParaRPr dirty="0"/>
          </a:p>
        </p:txBody>
      </p:sp>
      <p:sp>
        <p:nvSpPr>
          <p:cNvPr id="11" name="Rectangle 10">
            <a:extLst>
              <a:ext uri="{FF2B5EF4-FFF2-40B4-BE49-F238E27FC236}">
                <a16:creationId xmlns:a16="http://schemas.microsoft.com/office/drawing/2014/main" id="{B8FD1FC5-4BA9-B7E8-0F6C-E6616F7CC091}"/>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2" name="Picture 11" descr="Text  Description automatically generated">
            <a:extLst>
              <a:ext uri="{FF2B5EF4-FFF2-40B4-BE49-F238E27FC236}">
                <a16:creationId xmlns:a16="http://schemas.microsoft.com/office/drawing/2014/main" id="{21CBC0FE-4E8A-A041-05E5-6932EE881F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4" name="Picture 13" descr="Qr code  Description automatically generated">
            <a:extLst>
              <a:ext uri="{FF2B5EF4-FFF2-40B4-BE49-F238E27FC236}">
                <a16:creationId xmlns:a16="http://schemas.microsoft.com/office/drawing/2014/main" id="{50D12EBC-6B69-6CDD-13CD-B93740B7981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06510" y="4910604"/>
            <a:ext cx="1485543" cy="1485543"/>
          </a:xfrm>
          <a:prstGeom prst="rect">
            <a:avLst/>
          </a:prstGeom>
        </p:spPr>
      </p:pic>
      <p:sp>
        <p:nvSpPr>
          <p:cNvPr id="17" name="Text Placeholder 1">
            <a:extLst>
              <a:ext uri="{FF2B5EF4-FFF2-40B4-BE49-F238E27FC236}">
                <a16:creationId xmlns:a16="http://schemas.microsoft.com/office/drawing/2014/main" id="{5550BE1B-AFCC-B7D5-9AA6-23335220E768}"/>
              </a:ext>
            </a:extLst>
          </p:cNvPr>
          <p:cNvSpPr txBox="1">
            <a:spLocks/>
          </p:cNvSpPr>
          <p:nvPr/>
        </p:nvSpPr>
        <p:spPr>
          <a:xfrm>
            <a:off x="10655536" y="6407641"/>
            <a:ext cx="1319398" cy="24903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1200" b="1">
                <a:latin typeface="+mj-lt"/>
              </a:defRPr>
            </a:pPr>
            <a:r>
              <a:t>Lista de Diplomas</a:t>
            </a:r>
          </a:p>
        </p:txBody>
      </p:sp>
      <p:pic>
        <p:nvPicPr>
          <p:cNvPr id="7" name="Graphic 6">
            <a:extLst>
              <a:ext uri="{FF2B5EF4-FFF2-40B4-BE49-F238E27FC236}">
                <a16:creationId xmlns:a16="http://schemas.microsoft.com/office/drawing/2014/main" id="{40D1AAE3-898D-2DC3-95C2-9CB819532B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189" y="1525456"/>
            <a:ext cx="584192" cy="584192"/>
          </a:xfrm>
          <a:prstGeom prst="rect">
            <a:avLst/>
          </a:prstGeom>
        </p:spPr>
      </p:pic>
      <p:sp>
        <p:nvSpPr>
          <p:cNvPr id="16" name="Content Placeholder 2">
            <a:extLst>
              <a:ext uri="{FF2B5EF4-FFF2-40B4-BE49-F238E27FC236}">
                <a16:creationId xmlns:a16="http://schemas.microsoft.com/office/drawing/2014/main" id="{B17D727E-1028-802B-8045-03F792C5CB36}"/>
              </a:ext>
            </a:extLst>
          </p:cNvPr>
          <p:cNvSpPr txBox="1">
            <a:spLocks/>
          </p:cNvSpPr>
          <p:nvPr/>
        </p:nvSpPr>
        <p:spPr>
          <a:xfrm>
            <a:off x="141183" y="2326995"/>
            <a:ext cx="1426612" cy="270053"/>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rPr dirty="0" err="1"/>
              <a:t>Gestão</a:t>
            </a:r>
            <a:r>
              <a:rPr lang="en-US" dirty="0"/>
              <a:t> </a:t>
            </a:r>
            <a:r>
              <a:rPr lang="en-US" dirty="0" err="1">
                <a:solidFill>
                  <a:srgbClr val="3F3F3F"/>
                </a:solidFill>
                <a:latin typeface="Calibri"/>
                <a:cs typeface="Calibri"/>
              </a:rPr>
              <a:t>Negócio</a:t>
            </a:r>
            <a:r>
              <a:rPr lang="en-US" dirty="0" err="1">
                <a:solidFill>
                  <a:srgbClr val="313031"/>
                </a:solidFill>
                <a:latin typeface="Calibri"/>
                <a:cs typeface="Calibri"/>
              </a:rPr>
              <a:t>s</a:t>
            </a:r>
            <a:r>
              <a:rPr lang="en-US" dirty="0"/>
              <a:t> </a:t>
            </a:r>
            <a:r>
              <a:rPr dirty="0" err="1"/>
              <a:t>Aplicada</a:t>
            </a:r>
            <a:endParaRPr lang="en-US" dirty="0" err="1">
              <a:cs typeface="Calibri"/>
            </a:endParaRPr>
          </a:p>
        </p:txBody>
      </p:sp>
      <p:pic>
        <p:nvPicPr>
          <p:cNvPr id="19" name="Graphic 18">
            <a:extLst>
              <a:ext uri="{FF2B5EF4-FFF2-40B4-BE49-F238E27FC236}">
                <a16:creationId xmlns:a16="http://schemas.microsoft.com/office/drawing/2014/main" id="{F3D214B1-0C2F-5127-97FB-39A108EA25B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43869" y="1504140"/>
            <a:ext cx="665244" cy="665244"/>
          </a:xfrm>
          <a:prstGeom prst="rect">
            <a:avLst/>
          </a:prstGeom>
        </p:spPr>
      </p:pic>
      <p:sp>
        <p:nvSpPr>
          <p:cNvPr id="20" name="Content Placeholder 2">
            <a:extLst>
              <a:ext uri="{FF2B5EF4-FFF2-40B4-BE49-F238E27FC236}">
                <a16:creationId xmlns:a16="http://schemas.microsoft.com/office/drawing/2014/main" id="{5A77A19F-CD5E-F7C5-B11F-5ED8EEE3C2D3}"/>
              </a:ext>
            </a:extLst>
          </p:cNvPr>
          <p:cNvSpPr txBox="1">
            <a:spLocks/>
          </p:cNvSpPr>
          <p:nvPr/>
        </p:nvSpPr>
        <p:spPr>
          <a:xfrm>
            <a:off x="3393650" y="2294978"/>
            <a:ext cx="1279336" cy="214205"/>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Tecnologia da informação</a:t>
            </a:r>
          </a:p>
        </p:txBody>
      </p:sp>
      <p:pic>
        <p:nvPicPr>
          <p:cNvPr id="21" name="Graphic 20">
            <a:extLst>
              <a:ext uri="{FF2B5EF4-FFF2-40B4-BE49-F238E27FC236}">
                <a16:creationId xmlns:a16="http://schemas.microsoft.com/office/drawing/2014/main" id="{A61257DE-BA9A-D21C-C0DD-05CD2B3EAD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523" y="1373907"/>
            <a:ext cx="861676" cy="861677"/>
          </a:xfrm>
          <a:prstGeom prst="rect">
            <a:avLst/>
          </a:prstGeom>
        </p:spPr>
      </p:pic>
      <p:sp>
        <p:nvSpPr>
          <p:cNvPr id="22" name="Content Placeholder 2">
            <a:extLst>
              <a:ext uri="{FF2B5EF4-FFF2-40B4-BE49-F238E27FC236}">
                <a16:creationId xmlns:a16="http://schemas.microsoft.com/office/drawing/2014/main" id="{B0BAD8DB-C2EB-1BBC-245C-7102B156F40B}"/>
              </a:ext>
            </a:extLst>
          </p:cNvPr>
          <p:cNvSpPr txBox="1">
            <a:spLocks/>
          </p:cNvSpPr>
          <p:nvPr/>
        </p:nvSpPr>
        <p:spPr>
          <a:xfrm>
            <a:off x="7710523" y="2262962"/>
            <a:ext cx="861676"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Estudos de Família*</a:t>
            </a:r>
          </a:p>
        </p:txBody>
      </p:sp>
      <p:pic>
        <p:nvPicPr>
          <p:cNvPr id="23" name="Graphic 22">
            <a:extLst>
              <a:ext uri="{FF2B5EF4-FFF2-40B4-BE49-F238E27FC236}">
                <a16:creationId xmlns:a16="http://schemas.microsoft.com/office/drawing/2014/main" id="{D907D086-736A-450C-F2A4-FC7DA94B63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49661" y="1487985"/>
            <a:ext cx="659134" cy="659135"/>
          </a:xfrm>
          <a:prstGeom prst="rect">
            <a:avLst/>
          </a:prstGeom>
        </p:spPr>
      </p:pic>
      <p:sp>
        <p:nvSpPr>
          <p:cNvPr id="24" name="Content Placeholder 2">
            <a:extLst>
              <a:ext uri="{FF2B5EF4-FFF2-40B4-BE49-F238E27FC236}">
                <a16:creationId xmlns:a16="http://schemas.microsoft.com/office/drawing/2014/main" id="{BEE7202F-449B-9086-3496-720E953F2781}"/>
              </a:ext>
            </a:extLst>
          </p:cNvPr>
          <p:cNvSpPr txBox="1">
            <a:spLocks/>
          </p:cNvSpPr>
          <p:nvPr/>
        </p:nvSpPr>
        <p:spPr>
          <a:xfrm>
            <a:off x="8896685" y="2275769"/>
            <a:ext cx="1165086"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Estudos Profissionais</a:t>
            </a:r>
          </a:p>
        </p:txBody>
      </p:sp>
      <p:pic>
        <p:nvPicPr>
          <p:cNvPr id="26" name="Graphic 25">
            <a:extLst>
              <a:ext uri="{FF2B5EF4-FFF2-40B4-BE49-F238E27FC236}">
                <a16:creationId xmlns:a16="http://schemas.microsoft.com/office/drawing/2014/main" id="{E0125AB4-B442-B6E2-1EBA-9C3D81E2E5F7}"/>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113302" y="1526519"/>
            <a:ext cx="582067" cy="582067"/>
          </a:xfrm>
          <a:prstGeom prst="rect">
            <a:avLst/>
          </a:prstGeom>
        </p:spPr>
      </p:pic>
      <p:sp>
        <p:nvSpPr>
          <p:cNvPr id="28" name="Content Placeholder 2">
            <a:extLst>
              <a:ext uri="{FF2B5EF4-FFF2-40B4-BE49-F238E27FC236}">
                <a16:creationId xmlns:a16="http://schemas.microsoft.com/office/drawing/2014/main" id="{62ACE691-91C0-FDA2-05C2-6B489DA36E0B}"/>
              </a:ext>
            </a:extLst>
          </p:cNvPr>
          <p:cNvSpPr txBox="1">
            <a:spLocks/>
          </p:cNvSpPr>
          <p:nvPr/>
        </p:nvSpPr>
        <p:spPr>
          <a:xfrm>
            <a:off x="4915474" y="2275768"/>
            <a:ext cx="952570" cy="249475"/>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Saúde Aplicada</a:t>
            </a:r>
          </a:p>
        </p:txBody>
      </p:sp>
      <p:pic>
        <p:nvPicPr>
          <p:cNvPr id="29" name="Graphic 28">
            <a:extLst>
              <a:ext uri="{FF2B5EF4-FFF2-40B4-BE49-F238E27FC236}">
                <a16:creationId xmlns:a16="http://schemas.microsoft.com/office/drawing/2014/main" id="{50238DB1-1FA4-DFDF-8190-EA495C01ED5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59749" y="1437322"/>
            <a:ext cx="760459" cy="760459"/>
          </a:xfrm>
          <a:prstGeom prst="rect">
            <a:avLst/>
          </a:prstGeom>
        </p:spPr>
      </p:pic>
      <p:sp>
        <p:nvSpPr>
          <p:cNvPr id="30" name="Content Placeholder 2">
            <a:extLst>
              <a:ext uri="{FF2B5EF4-FFF2-40B4-BE49-F238E27FC236}">
                <a16:creationId xmlns:a16="http://schemas.microsoft.com/office/drawing/2014/main" id="{8AC79D5D-8AB4-1C8B-D4C6-7F14711042AB}"/>
              </a:ext>
            </a:extLst>
          </p:cNvPr>
          <p:cNvSpPr txBox="1">
            <a:spLocks/>
          </p:cNvSpPr>
          <p:nvPr/>
        </p:nvSpPr>
        <p:spPr>
          <a:xfrm>
            <a:off x="6055566" y="2275769"/>
            <a:ext cx="1368826"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Comunicação</a:t>
            </a:r>
          </a:p>
        </p:txBody>
      </p:sp>
      <p:pic>
        <p:nvPicPr>
          <p:cNvPr id="32" name="Graphic 31">
            <a:extLst>
              <a:ext uri="{FF2B5EF4-FFF2-40B4-BE49-F238E27FC236}">
                <a16:creationId xmlns:a16="http://schemas.microsoft.com/office/drawing/2014/main" id="{205B6630-5704-5994-DB97-47B0810C0A17}"/>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854170" y="1264613"/>
            <a:ext cx="1105876" cy="1105876"/>
          </a:xfrm>
          <a:prstGeom prst="rect">
            <a:avLst/>
          </a:prstGeom>
        </p:spPr>
      </p:pic>
      <p:sp>
        <p:nvSpPr>
          <p:cNvPr id="33" name="Content Placeholder 2">
            <a:extLst>
              <a:ext uri="{FF2B5EF4-FFF2-40B4-BE49-F238E27FC236}">
                <a16:creationId xmlns:a16="http://schemas.microsoft.com/office/drawing/2014/main" id="{5A89F0E6-E75F-91DF-0CE7-8B1C9BE587FF}"/>
              </a:ext>
            </a:extLst>
          </p:cNvPr>
          <p:cNvSpPr txBox="1">
            <a:spLocks/>
          </p:cNvSpPr>
          <p:nvPr/>
        </p:nvSpPr>
        <p:spPr>
          <a:xfrm>
            <a:off x="1672357" y="2326996"/>
            <a:ext cx="1484243" cy="271332"/>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Desenvolvimento de Software</a:t>
            </a:r>
          </a:p>
        </p:txBody>
      </p:sp>
      <p:sp>
        <p:nvSpPr>
          <p:cNvPr id="34" name="TextBox 33">
            <a:extLst>
              <a:ext uri="{FF2B5EF4-FFF2-40B4-BE49-F238E27FC236}">
                <a16:creationId xmlns:a16="http://schemas.microsoft.com/office/drawing/2014/main" id="{416DF48E-CA52-29A7-3796-A2B845252115}"/>
              </a:ext>
            </a:extLst>
          </p:cNvPr>
          <p:cNvSpPr txBox="1"/>
          <p:nvPr/>
        </p:nvSpPr>
        <p:spPr>
          <a:xfrm>
            <a:off x="10605964" y="3830242"/>
            <a:ext cx="1550947" cy="938719"/>
          </a:xfrm>
          <a:prstGeom prst="rect">
            <a:avLst/>
          </a:prstGeom>
          <a:noFill/>
        </p:spPr>
        <p:txBody>
          <a:bodyPr wrap="square" lIns="91440" tIns="45720" rIns="91440" bIns="45720" anchor="t">
            <a:spAutoFit/>
          </a:bodyPr>
          <a:lstStyle/>
          <a:p>
            <a:pPr marL="120650" indent="-109220">
              <a:defRPr sz="1400"/>
            </a:pPr>
            <a:r>
              <a:rPr sz="1100"/>
              <a:t>*</a:t>
            </a:r>
            <a:r>
              <a:rPr sz="1100" err="1"/>
              <a:t>Os</a:t>
            </a:r>
            <a:r>
              <a:rPr sz="1100"/>
              <a:t> </a:t>
            </a:r>
            <a:r>
              <a:rPr sz="1100" err="1"/>
              <a:t>Estudos</a:t>
            </a:r>
            <a:r>
              <a:rPr sz="1100"/>
              <a:t> de </a:t>
            </a:r>
            <a:r>
              <a:rPr sz="1100" err="1"/>
              <a:t>Família</a:t>
            </a:r>
            <a:r>
              <a:rPr sz="1100"/>
              <a:t> </a:t>
            </a:r>
            <a:r>
              <a:rPr sz="1100" err="1"/>
              <a:t>consistem</a:t>
            </a:r>
            <a:r>
              <a:rPr sz="1100"/>
              <a:t> </a:t>
            </a:r>
            <a:r>
              <a:rPr sz="1100" err="1"/>
              <a:t>em</a:t>
            </a:r>
            <a:r>
              <a:rPr sz="1100"/>
              <a:t> </a:t>
            </a:r>
            <a:r>
              <a:rPr sz="1100" err="1"/>
              <a:t>Família</a:t>
            </a:r>
            <a:r>
              <a:rPr sz="1100"/>
              <a:t> e Serviços Humanos e Pesquisa de </a:t>
            </a:r>
            <a:r>
              <a:rPr sz="1100" err="1"/>
              <a:t>História</a:t>
            </a:r>
            <a:r>
              <a:rPr sz="1100"/>
              <a:t> da </a:t>
            </a:r>
            <a:r>
              <a:rPr sz="1100" err="1"/>
              <a:t>Família</a:t>
            </a:r>
            <a:endParaRPr lang="en-US" sz="1100" err="1">
              <a:cs typeface="Calibri"/>
            </a:endParaRPr>
          </a:p>
        </p:txBody>
      </p:sp>
    </p:spTree>
    <p:extLst>
      <p:ext uri="{BB962C8B-B14F-4D97-AF65-F5344CB8AC3E}">
        <p14:creationId xmlns:p14="http://schemas.microsoft.com/office/powerpoint/2010/main" val="3075817669"/>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9D4DC2E-C078-3526-1B31-BEA4E21719D4}"/>
              </a:ext>
            </a:extLst>
          </p:cNvPr>
          <p:cNvSpPr/>
          <p:nvPr/>
        </p:nvSpPr>
        <p:spPr>
          <a:xfrm>
            <a:off x="-48787" y="1816096"/>
            <a:ext cx="12302364" cy="28537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7</a:t>
            </a:fld>
            <a:endParaRPr lang="en-US"/>
          </a:p>
        </p:txBody>
      </p:sp>
      <p:sp>
        <p:nvSpPr>
          <p:cNvPr id="20" name="Content Placeholder 2">
            <a:extLst>
              <a:ext uri="{FF2B5EF4-FFF2-40B4-BE49-F238E27FC236}">
                <a16:creationId xmlns:a16="http://schemas.microsoft.com/office/drawing/2014/main" id="{16521770-80B6-B447-80F3-E433B45DFE28}"/>
              </a:ext>
            </a:extLst>
          </p:cNvPr>
          <p:cNvSpPr txBox="1">
            <a:spLocks/>
          </p:cNvSpPr>
          <p:nvPr/>
        </p:nvSpPr>
        <p:spPr>
          <a:xfrm>
            <a:off x="-233088" y="839773"/>
            <a:ext cx="9028113" cy="915488"/>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20000"/>
              </a:lnSpc>
              <a:buNone/>
              <a:defRPr sz="4400">
                <a:latin typeface="Calibri Light"/>
                <a:ea typeface="Calibri Light"/>
                <a:cs typeface="Calibri Light"/>
              </a:defRPr>
            </a:pPr>
            <a:r>
              <a:t>BYU-Pathway ajuda os alunos a...</a:t>
            </a:r>
          </a:p>
        </p:txBody>
      </p:sp>
      <p:sp>
        <p:nvSpPr>
          <p:cNvPr id="27" name="TextBox 26">
            <a:extLst>
              <a:ext uri="{FF2B5EF4-FFF2-40B4-BE49-F238E27FC236}">
                <a16:creationId xmlns:a16="http://schemas.microsoft.com/office/drawing/2014/main" id="{061D94E2-836E-EE4F-AC2E-903DE5C55B97}"/>
              </a:ext>
            </a:extLst>
          </p:cNvPr>
          <p:cNvSpPr txBox="1"/>
          <p:nvPr/>
        </p:nvSpPr>
        <p:spPr>
          <a:xfrm>
            <a:off x="9300273" y="5084467"/>
            <a:ext cx="2712898"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defRPr>
            </a:pPr>
            <a:r>
              <a:rPr sz="2800" err="1"/>
              <a:t>Encontrar</a:t>
            </a:r>
            <a:r>
              <a:rPr sz="2800"/>
              <a:t> um </a:t>
            </a:r>
            <a:r>
              <a:rPr sz="2800" err="1"/>
              <a:t>caminho</a:t>
            </a:r>
            <a:r>
              <a:rPr sz="2800"/>
              <a:t> a </a:t>
            </a:r>
            <a:r>
              <a:rPr sz="2800" err="1"/>
              <a:t>seguir</a:t>
            </a:r>
            <a:endParaRPr lang="en-US" sz="2800" err="1">
              <a:solidFill>
                <a:schemeClr val="tx1">
                  <a:lumMod val="75000"/>
                  <a:lumOff val="25000"/>
                </a:schemeClr>
              </a:solidFill>
            </a:endParaRPr>
          </a:p>
        </p:txBody>
      </p:sp>
      <p:sp>
        <p:nvSpPr>
          <p:cNvPr id="28" name="TextBox 27">
            <a:extLst>
              <a:ext uri="{FF2B5EF4-FFF2-40B4-BE49-F238E27FC236}">
                <a16:creationId xmlns:a16="http://schemas.microsoft.com/office/drawing/2014/main" id="{2DF252B8-74CF-F44D-9C66-D414C0B370E9}"/>
              </a:ext>
            </a:extLst>
          </p:cNvPr>
          <p:cNvSpPr txBox="1"/>
          <p:nvPr/>
        </p:nvSpPr>
        <p:spPr>
          <a:xfrm>
            <a:off x="5026354" y="5085688"/>
            <a:ext cx="2744597"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ea typeface="+mn-lt"/>
                <a:cs typeface="+mn-lt"/>
              </a:defRPr>
            </a:pPr>
            <a:r>
              <a:rPr sz="2800" err="1"/>
              <a:t>Economizar</a:t>
            </a:r>
            <a:r>
              <a:rPr sz="2800"/>
              <a:t> tempo e </a:t>
            </a:r>
            <a:r>
              <a:rPr sz="2800" err="1"/>
              <a:t>dinheiro</a:t>
            </a:r>
            <a:endParaRPr lang="en-US" sz="2800" b="1" err="1">
              <a:solidFill>
                <a:schemeClr val="tx1">
                  <a:lumMod val="75000"/>
                  <a:lumOff val="25000"/>
                </a:schemeClr>
              </a:solidFill>
              <a:ea typeface="Calibri"/>
              <a:cs typeface="Calibri"/>
            </a:endParaRPr>
          </a:p>
        </p:txBody>
      </p:sp>
      <p:sp>
        <p:nvSpPr>
          <p:cNvPr id="29" name="TextBox 28">
            <a:extLst>
              <a:ext uri="{FF2B5EF4-FFF2-40B4-BE49-F238E27FC236}">
                <a16:creationId xmlns:a16="http://schemas.microsoft.com/office/drawing/2014/main" id="{CED74288-F993-2A4C-A717-1C6A7F535098}"/>
              </a:ext>
            </a:extLst>
          </p:cNvPr>
          <p:cNvSpPr txBox="1"/>
          <p:nvPr/>
        </p:nvSpPr>
        <p:spPr>
          <a:xfrm>
            <a:off x="1026637" y="5085687"/>
            <a:ext cx="2647209"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defRPr>
            </a:pPr>
            <a:r>
              <a:rPr sz="2800" err="1"/>
              <a:t>Conseguir</a:t>
            </a:r>
            <a:r>
              <a:rPr sz="2800"/>
              <a:t> um </a:t>
            </a:r>
            <a:r>
              <a:rPr sz="2800" err="1"/>
              <a:t>emprego</a:t>
            </a:r>
            <a:r>
              <a:rPr sz="2800"/>
              <a:t> </a:t>
            </a:r>
            <a:r>
              <a:rPr sz="2800" err="1"/>
              <a:t>melhor</a:t>
            </a:r>
            <a:endParaRPr lang="en-US" sz="2800" err="1">
              <a:solidFill>
                <a:schemeClr val="tx1">
                  <a:lumMod val="75000"/>
                  <a:lumOff val="25000"/>
                </a:schemeClr>
              </a:solidFill>
            </a:endParaRPr>
          </a:p>
        </p:txBody>
      </p:sp>
      <p:pic>
        <p:nvPicPr>
          <p:cNvPr id="11" name="Picture 11" descr="A picture containing commencement, academic costume, graduation, person  Description automatically generated">
            <a:extLst>
              <a:ext uri="{FF2B5EF4-FFF2-40B4-BE49-F238E27FC236}">
                <a16:creationId xmlns:a16="http://schemas.microsoft.com/office/drawing/2014/main" id="{2FCB1BD8-9966-47F6-9934-DC55BBA66BFA}"/>
              </a:ext>
            </a:extLst>
          </p:cNvPr>
          <p:cNvPicPr>
            <a:picLocks noChangeAspect="1"/>
          </p:cNvPicPr>
          <p:nvPr/>
        </p:nvPicPr>
        <p:blipFill rotWithShape="1">
          <a:blip r:embed="rId4"/>
          <a:srcRect t="570" r="6896" b="7294"/>
          <a:stretch/>
        </p:blipFill>
        <p:spPr>
          <a:xfrm>
            <a:off x="8186422" y="1908256"/>
            <a:ext cx="4005062" cy="2664946"/>
          </a:xfrm>
          <a:prstGeom prst="rect">
            <a:avLst/>
          </a:prstGeom>
        </p:spPr>
      </p:pic>
      <p:pic>
        <p:nvPicPr>
          <p:cNvPr id="15" name="Graphic 6">
            <a:extLst>
              <a:ext uri="{FF2B5EF4-FFF2-40B4-BE49-F238E27FC236}">
                <a16:creationId xmlns:a16="http://schemas.microsoft.com/office/drawing/2014/main" id="{4751089D-F608-11C4-D7FE-8747798B75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7447" y="5299558"/>
            <a:ext cx="469774" cy="620780"/>
          </a:xfrm>
          <a:prstGeom prst="rect">
            <a:avLst/>
          </a:prstGeom>
        </p:spPr>
      </p:pic>
      <p:pic>
        <p:nvPicPr>
          <p:cNvPr id="17" name="Graphic 7">
            <a:extLst>
              <a:ext uri="{FF2B5EF4-FFF2-40B4-BE49-F238E27FC236}">
                <a16:creationId xmlns:a16="http://schemas.microsoft.com/office/drawing/2014/main" id="{75FD2F3B-D7F7-621E-F062-E1CBD8B192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0000" y="5300549"/>
            <a:ext cx="634955" cy="616063"/>
          </a:xfrm>
          <a:prstGeom prst="rect">
            <a:avLst/>
          </a:prstGeom>
        </p:spPr>
      </p:pic>
      <p:pic>
        <p:nvPicPr>
          <p:cNvPr id="21" name="Graphic 8">
            <a:extLst>
              <a:ext uri="{FF2B5EF4-FFF2-40B4-BE49-F238E27FC236}">
                <a16:creationId xmlns:a16="http://schemas.microsoft.com/office/drawing/2014/main" id="{35A9E54B-D6E0-9249-69DD-E5E96D4812D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7256" y="5208218"/>
            <a:ext cx="801155" cy="800497"/>
          </a:xfrm>
          <a:prstGeom prst="rect">
            <a:avLst/>
          </a:prstGeom>
        </p:spPr>
      </p:pic>
      <p:sp>
        <p:nvSpPr>
          <p:cNvPr id="30" name="Rectangle 29">
            <a:extLst>
              <a:ext uri="{FF2B5EF4-FFF2-40B4-BE49-F238E27FC236}">
                <a16:creationId xmlns:a16="http://schemas.microsoft.com/office/drawing/2014/main" id="{857C208A-2769-6041-95B8-FD02113F8FA0}"/>
              </a:ext>
            </a:extLst>
          </p:cNvPr>
          <p:cNvSpPr/>
          <p:nvPr/>
        </p:nvSpPr>
        <p:spPr>
          <a:xfrm>
            <a:off x="10479505" y="-39756"/>
            <a:ext cx="1738999" cy="14688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32" name="Picture 31" descr="Text  Description automatically generated">
            <a:extLst>
              <a:ext uri="{FF2B5EF4-FFF2-40B4-BE49-F238E27FC236}">
                <a16:creationId xmlns:a16="http://schemas.microsoft.com/office/drawing/2014/main" id="{8B398843-F35C-BA42-4C0C-C1359B876CA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2" name="Rectangle 1">
            <a:extLst>
              <a:ext uri="{FF2B5EF4-FFF2-40B4-BE49-F238E27FC236}">
                <a16:creationId xmlns:a16="http://schemas.microsoft.com/office/drawing/2014/main" id="{4C906694-9DB0-10F7-1EAA-FC9203BA1BDC}"/>
              </a:ext>
            </a:extLst>
          </p:cNvPr>
          <p:cNvSpPr/>
          <p:nvPr/>
        </p:nvSpPr>
        <p:spPr>
          <a:xfrm>
            <a:off x="2004" y="6766034"/>
            <a:ext cx="12209701" cy="12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3" name="Picture 3">
            <a:extLst>
              <a:ext uri="{FF2B5EF4-FFF2-40B4-BE49-F238E27FC236}">
                <a16:creationId xmlns:a16="http://schemas.microsoft.com/office/drawing/2014/main" id="{678DC212-950F-B4B0-8A0D-9FF4BF546D82}"/>
              </a:ext>
            </a:extLst>
          </p:cNvPr>
          <p:cNvPicPr>
            <a:picLocks noChangeAspect="1"/>
          </p:cNvPicPr>
          <p:nvPr/>
        </p:nvPicPr>
        <p:blipFill>
          <a:blip r:embed="rId12"/>
          <a:stretch>
            <a:fillRect/>
          </a:stretch>
        </p:blipFill>
        <p:spPr>
          <a:xfrm>
            <a:off x="-4381" y="1917322"/>
            <a:ext cx="4007688" cy="2659087"/>
          </a:xfrm>
          <a:prstGeom prst="rect">
            <a:avLst/>
          </a:prstGeom>
        </p:spPr>
      </p:pic>
      <p:pic>
        <p:nvPicPr>
          <p:cNvPr id="4" name="Picture 4">
            <a:extLst>
              <a:ext uri="{FF2B5EF4-FFF2-40B4-BE49-F238E27FC236}">
                <a16:creationId xmlns:a16="http://schemas.microsoft.com/office/drawing/2014/main" id="{BB2363BE-6C2F-0EB5-A854-2C0CBEE4D03F}"/>
              </a:ext>
            </a:extLst>
          </p:cNvPr>
          <p:cNvPicPr>
            <a:picLocks noChangeAspect="1"/>
          </p:cNvPicPr>
          <p:nvPr/>
        </p:nvPicPr>
        <p:blipFill rotWithShape="1">
          <a:blip r:embed="rId13"/>
          <a:srcRect t="162" r="-469" b="2496"/>
          <a:stretch/>
        </p:blipFill>
        <p:spPr>
          <a:xfrm>
            <a:off x="4088350" y="1916858"/>
            <a:ext cx="4013692" cy="2653427"/>
          </a:xfrm>
          <a:prstGeom prst="rect">
            <a:avLst/>
          </a:prstGeom>
        </p:spPr>
      </p:pic>
    </p:spTree>
    <p:extLst>
      <p:ext uri="{BB962C8B-B14F-4D97-AF65-F5344CB8AC3E}">
        <p14:creationId xmlns:p14="http://schemas.microsoft.com/office/powerpoint/2010/main" val="356978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87FB22B4-2951-A28D-BB5A-9D0127456D90}"/>
              </a:ext>
            </a:extLst>
          </p:cNvPr>
          <p:cNvPicPr>
            <a:picLocks noChangeAspect="1"/>
          </p:cNvPicPr>
          <p:nvPr/>
        </p:nvPicPr>
        <p:blipFill rotWithShape="1">
          <a:blip r:embed="rId3"/>
          <a:srcRect t="4728" b="20221"/>
          <a:stretch/>
        </p:blipFill>
        <p:spPr>
          <a:xfrm>
            <a:off x="-25826" y="-28039"/>
            <a:ext cx="12252320" cy="6118262"/>
          </a:xfrm>
          <a:prstGeom prst="rect">
            <a:avLst/>
          </a:prstGeom>
        </p:spPr>
      </p:pic>
      <p:sp>
        <p:nvSpPr>
          <p:cNvPr id="18" name="Rectangle 17">
            <a:extLst>
              <a:ext uri="{FF2B5EF4-FFF2-40B4-BE49-F238E27FC236}">
                <a16:creationId xmlns:a16="http://schemas.microsoft.com/office/drawing/2014/main" id="{FA3A9F34-98D4-9547-B942-3279C8707609}"/>
              </a:ext>
            </a:extLst>
          </p:cNvPr>
          <p:cNvSpPr/>
          <p:nvPr/>
        </p:nvSpPr>
        <p:spPr>
          <a:xfrm>
            <a:off x="-20625" y="5821246"/>
            <a:ext cx="12252723" cy="1035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1960832" y="5885823"/>
            <a:ext cx="9844087" cy="9111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t>Obter um emprego melhor</a:t>
            </a:r>
            <a:endParaRPr lang="en-US" sz="4800">
              <a:solidFill>
                <a:schemeClr val="bg1"/>
              </a:solidFill>
              <a:latin typeface="Roboto Slab Light"/>
            </a:endParaRPr>
          </a:p>
        </p:txBody>
      </p:sp>
      <p:sp>
        <p:nvSpPr>
          <p:cNvPr id="3" name="Rectangle 2">
            <a:extLst>
              <a:ext uri="{FF2B5EF4-FFF2-40B4-BE49-F238E27FC236}">
                <a16:creationId xmlns:a16="http://schemas.microsoft.com/office/drawing/2014/main" id="{81653977-D96C-313F-7524-62BCEB14BF90}"/>
              </a:ext>
            </a:extLst>
          </p:cNvPr>
          <p:cNvSpPr/>
          <p:nvPr/>
        </p:nvSpPr>
        <p:spPr>
          <a:xfrm>
            <a:off x="1029505" y="5249262"/>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Graphic 4">
            <a:extLst>
              <a:ext uri="{FF2B5EF4-FFF2-40B4-BE49-F238E27FC236}">
                <a16:creationId xmlns:a16="http://schemas.microsoft.com/office/drawing/2014/main" id="{8415BE5B-6B1E-8B91-BD83-964AF63C9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4863" y="5499945"/>
            <a:ext cx="923144" cy="923144"/>
          </a:xfrm>
          <a:prstGeom prst="rect">
            <a:avLst/>
          </a:prstGeom>
        </p:spPr>
      </p:pic>
    </p:spTree>
    <p:extLst>
      <p:ext uri="{BB962C8B-B14F-4D97-AF65-F5344CB8AC3E}">
        <p14:creationId xmlns:p14="http://schemas.microsoft.com/office/powerpoint/2010/main" val="369920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athway 1">
      <a:dk1>
        <a:srgbClr val="313031"/>
      </a:dk1>
      <a:lt1>
        <a:srgbClr val="FFFFFF"/>
      </a:lt1>
      <a:dk2>
        <a:srgbClr val="313031"/>
      </a:dk2>
      <a:lt2>
        <a:srgbClr val="FFFFFF"/>
      </a:lt2>
      <a:accent1>
        <a:srgbClr val="FFC328"/>
      </a:accent1>
      <a:accent2>
        <a:srgbClr val="CB4927"/>
      </a:accent2>
      <a:accent3>
        <a:srgbClr val="065577"/>
      </a:accent3>
      <a:accent4>
        <a:srgbClr val="6DAAB6"/>
      </a:accent4>
      <a:accent5>
        <a:srgbClr val="BABF3C"/>
      </a:accent5>
      <a:accent6>
        <a:srgbClr val="313031"/>
      </a:accent6>
      <a:hlink>
        <a:srgbClr val="E1A740"/>
      </a:hlink>
      <a:folHlink>
        <a:srgbClr val="BD523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Pathway 2020_1">
      <a:dk1>
        <a:srgbClr val="58595B"/>
      </a:dk1>
      <a:lt1>
        <a:srgbClr val="FFFFFF"/>
      </a:lt1>
      <a:dk2>
        <a:srgbClr val="58595B"/>
      </a:dk2>
      <a:lt2>
        <a:srgbClr val="E7E6E6"/>
      </a:lt2>
      <a:accent1>
        <a:srgbClr val="FFC328"/>
      </a:accent1>
      <a:accent2>
        <a:srgbClr val="3A929D"/>
      </a:accent2>
      <a:accent3>
        <a:srgbClr val="CB4927"/>
      </a:accent3>
      <a:accent4>
        <a:srgbClr val="A2C23C"/>
      </a:accent4>
      <a:accent5>
        <a:srgbClr val="065577"/>
      </a:accent5>
      <a:accent6>
        <a:srgbClr val="000000"/>
      </a:accent6>
      <a:hlink>
        <a:srgbClr val="FFC328"/>
      </a:hlink>
      <a:folHlink>
        <a:srgbClr val="FFC328"/>
      </a:folHlink>
    </a:clrScheme>
    <a:fontScheme name="Roboto">
      <a:majorFont>
        <a:latin typeface="Roboto Slab Thin"/>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5FD9DCFAAD0A439D68C893F04135D8" ma:contentTypeVersion="27" ma:contentTypeDescription="Create a new document." ma:contentTypeScope="" ma:versionID="43d6193b1f2685c77b446bf1e7cd5107">
  <xsd:schema xmlns:xsd="http://www.w3.org/2001/XMLSchema" xmlns:xs="http://www.w3.org/2001/XMLSchema" xmlns:p="http://schemas.microsoft.com/office/2006/metadata/properties" xmlns:ns2="99b7238d-aad9-4b76-aaaa-43d703024f67" xmlns:ns3="10ae4b11-f6d3-4c60-bcd1-5d021da4370d" xmlns:ns4="86a4b93c-d1cc-4bd3-af56-561b2e2f2c4a" targetNamespace="http://schemas.microsoft.com/office/2006/metadata/properties" ma:root="true" ma:fieldsID="bd20faf6af6434aab7d4e6711f32be18" ns2:_="" ns3:_="" ns4:_="">
    <xsd:import namespace="99b7238d-aad9-4b76-aaaa-43d703024f67"/>
    <xsd:import namespace="10ae4b11-f6d3-4c60-bcd1-5d021da4370d"/>
    <xsd:import namespace="86a4b93c-d1cc-4bd3-af56-561b2e2f2c4a"/>
    <xsd:element name="properties">
      <xsd:complexType>
        <xsd:sequence>
          <xsd:element name="documentManagement">
            <xsd:complexType>
              <xsd:all>
                <xsd:element ref="ns2:Thumbnail" minOccurs="0"/>
                <xsd:element ref="ns2:Picture" minOccurs="0"/>
                <xsd:element ref="ns2:Caption"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3:TaxKeywordTaxHTField" minOccurs="0"/>
                <xsd:element ref="ns4:TaxCatchAll" minOccurs="0"/>
                <xsd:element ref="ns2:MediaLengthInSeconds" minOccurs="0"/>
                <xsd:element ref="ns2:lcf76f155ced4ddcb4097134ff3c332f" minOccurs="0"/>
                <xsd:element ref="ns2:CanvaTemplate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7238d-aad9-4b76-aaaa-43d703024f67" elementFormDefault="qualified">
    <xsd:import namespace="http://schemas.microsoft.com/office/2006/documentManagement/types"/>
    <xsd:import namespace="http://schemas.microsoft.com/office/infopath/2007/PartnerControls"/>
    <xsd:element name="Thumbnail" ma:index="2" nillable="true" ma:displayName="Thumbnail" ma:format="Image" ma:internalName="Thumbnai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Picture" ma:index="4" nillable="true" ma:displayName="Picture" ma:format="Image" ma:internalName="Pictur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aption" ma:index="5" nillable="true" ma:displayName="Caption" ma:format="Dropdown" ma:internalName="Caption"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hidden="true" ma:internalName="MediaServiceAutoTags" ma:readOnly="true">
      <xsd:simpleType>
        <xsd:restriction base="dms:Text"/>
      </xsd:simpleType>
    </xsd:element>
    <xsd:element name="MediaServiceOCR" ma:index="12" nillable="true" ma:displayName="MediaServiceOCR" ma:hidden="true" ma:internalName="MediaServiceOCR" ma:readOnly="true">
      <xsd:simpleType>
        <xsd:restriction base="dms:Note"/>
      </xsd:simpleType>
    </xsd:element>
    <xsd:element name="MediaServiceLocation" ma:index="13" nillable="true" ma:displayName="MediaServiceLocation" ma:hidden="true"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hidden="true" ma:internalName="MediaServiceKeyPoints" ma:readOnly="true">
      <xsd:simpleType>
        <xsd:restriction base="dms:Note"/>
      </xsd:simpleType>
    </xsd:element>
    <xsd:element name="MediaLengthInSeconds" ma:index="25" nillable="true" ma:displayName="Length (seconds)" ma:hidden="true"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fc2d1c6a-5b2e-41c9-bb75-28e62ca304c6" ma:termSetId="09814cd3-568e-fe90-9814-8d621ff8fb84" ma:anchorId="fba54fb3-c3e1-fe81-a776-ca4b69148c4d" ma:open="true" ma:isKeyword="false">
      <xsd:complexType>
        <xsd:sequence>
          <xsd:element ref="pc:Terms" minOccurs="0" maxOccurs="1"/>
        </xsd:sequence>
      </xsd:complexType>
    </xsd:element>
    <xsd:element name="CanvaTemplates" ma:index="29" nillable="true" ma:displayName="Canva Templates" ma:description="https://www.canva.com/design/DAFDr3Cjuw4/VzWfHKhzL7vp3IpiR5tA4A/edit?utm_content=DAFDr3Cjuw4&amp;utm_campaign=designshare&amp;utm_medium=link2&amp;utm_source=sharebutton" ma:format="Hyperlink" ma:internalName="CanvaTemplate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ae4b11-f6d3-4c60-bcd1-5d021da4370d"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element name="TaxKeywordTaxHTField" ma:index="22" nillable="true" ma:taxonomy="true" ma:internalName="TaxKeywordTaxHTField" ma:taxonomyFieldName="TaxKeyword" ma:displayName="Enterprise Keywords" ma:readOnly="false" ma:fieldId="{23f27201-bee3-471e-b2e7-b64fd8b7ca38}" ma:taxonomyMulti="true" ma:sspId="fc2d1c6a-5b2e-41c9-bb75-28e62ca304c6"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6a4b93c-d1cc-4bd3-af56-561b2e2f2c4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98e2488-e9f8-48f9-a1c9-4c5f0b6f47e1}" ma:internalName="TaxCatchAll" ma:showField="CatchAllData" ma:web="10ae4b11-f6d3-4c60-bcd1-5d021da437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0ae4b11-f6d3-4c60-bcd1-5d021da4370d">
      <UserInfo>
        <DisplayName>Westin Cordier</DisplayName>
        <AccountId>40</AccountId>
        <AccountType/>
      </UserInfo>
      <UserInfo>
        <DisplayName>Juston Cheney</DisplayName>
        <AccountId>11</AccountId>
        <AccountType/>
      </UserInfo>
      <UserInfo>
        <DisplayName>Brian T. Fogelberg</DisplayName>
        <AccountId>17</AccountId>
        <AccountType/>
      </UserInfo>
      <UserInfo>
        <DisplayName>John Wilson</DisplayName>
        <AccountId>35</AccountId>
        <AccountType/>
      </UserInfo>
      <UserInfo>
        <DisplayName>Kamile Walker</DisplayName>
        <AccountId>1533</AccountId>
        <AccountType/>
      </UserInfo>
    </SharedWithUsers>
    <TaxKeywordTaxHTField xmlns="10ae4b11-f6d3-4c60-bcd1-5d021da4370d">
      <Terms xmlns="http://schemas.microsoft.com/office/infopath/2007/PartnerControls"/>
    </TaxKeywordTaxHTField>
    <Thumbnail xmlns="99b7238d-aad9-4b76-aaaa-43d703024f67">
      <Url xsi:nil="true"/>
      <Description xsi:nil="true"/>
    </Thumbnail>
    <Picture xmlns="99b7238d-aad9-4b76-aaaa-43d703024f67">
      <Url xsi:nil="true"/>
      <Description xsi:nil="true"/>
    </Picture>
    <Caption xmlns="99b7238d-aad9-4b76-aaaa-43d703024f67" xsi:nil="true"/>
    <lcf76f155ced4ddcb4097134ff3c332f xmlns="99b7238d-aad9-4b76-aaaa-43d703024f67">
      <Terms xmlns="http://schemas.microsoft.com/office/infopath/2007/PartnerControls"/>
    </lcf76f155ced4ddcb4097134ff3c332f>
    <CanvaTemplates xmlns="99b7238d-aad9-4b76-aaaa-43d703024f67">
      <Url xsi:nil="true"/>
      <Description xsi:nil="true"/>
    </CanvaTemplates>
    <TaxCatchAll xmlns="86a4b93c-d1cc-4bd3-af56-561b2e2f2c4a" xsi:nil="true"/>
  </documentManagement>
</p:properties>
</file>

<file path=customXml/itemProps1.xml><?xml version="1.0" encoding="utf-8"?>
<ds:datastoreItem xmlns:ds="http://schemas.openxmlformats.org/officeDocument/2006/customXml" ds:itemID="{5504FDC2-CE3D-4E9B-A1CF-511BA57E27E7}">
  <ds:schemaRefs>
    <ds:schemaRef ds:uri="http://schemas.microsoft.com/sharepoint/v3/contenttype/forms"/>
  </ds:schemaRefs>
</ds:datastoreItem>
</file>

<file path=customXml/itemProps2.xml><?xml version="1.0" encoding="utf-8"?>
<ds:datastoreItem xmlns:ds="http://schemas.openxmlformats.org/officeDocument/2006/customXml" ds:itemID="{02337EDB-B488-4079-9AB8-6E427E0630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7238d-aad9-4b76-aaaa-43d703024f67"/>
    <ds:schemaRef ds:uri="10ae4b11-f6d3-4c60-bcd1-5d021da4370d"/>
    <ds:schemaRef ds:uri="86a4b93c-d1cc-4bd3-af56-561b2e2f2c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DB49D6-D7A1-4AE9-A68F-AD3AF7751FA2}">
  <ds:schemaRefs>
    <ds:schemaRef ds:uri="http://purl.org/dc/elements/1.1/"/>
    <ds:schemaRef ds:uri="http://www.w3.org/XML/1998/namespace"/>
    <ds:schemaRef ds:uri="http://purl.org/dc/terms/"/>
    <ds:schemaRef ds:uri="http://purl.org/dc/dcmitype/"/>
    <ds:schemaRef ds:uri="http://schemas.openxmlformats.org/package/2006/metadata/core-properties"/>
    <ds:schemaRef ds:uri="86a4b93c-d1cc-4bd3-af56-561b2e2f2c4a"/>
    <ds:schemaRef ds:uri="http://schemas.microsoft.com/office/2006/documentManagement/types"/>
    <ds:schemaRef ds:uri="http://schemas.microsoft.com/office/2006/metadata/properties"/>
    <ds:schemaRef ds:uri="http://schemas.microsoft.com/office/infopath/2007/PartnerControls"/>
    <ds:schemaRef ds:uri="10ae4b11-f6d3-4c60-bcd1-5d021da4370d"/>
    <ds:schemaRef ds:uri="99b7238d-aad9-4b76-aaaa-43d703024f67"/>
  </ds:schemaRefs>
</ds:datastoreItem>
</file>

<file path=docMetadata/LabelInfo.xml><?xml version="1.0" encoding="utf-8"?>
<clbl:labelList xmlns:clbl="http://schemas.microsoft.com/office/2020/mipLabelMetadata">
  <clbl:label id="{03ef5274-90b8-4b3f-8a76-b4c36a43e904}" enabled="1" method="Privileged" siteId="{61e6eeb3-5fd7-4aaa-ae3c-61e8deb09b79}" removed="0"/>
</clbl:labelList>
</file>

<file path=docProps/app.xml><?xml version="1.0" encoding="utf-8"?>
<Properties xmlns="http://schemas.openxmlformats.org/officeDocument/2006/extended-properties" xmlns:vt="http://schemas.openxmlformats.org/officeDocument/2006/docPropsVTypes">
  <Template/>
  <TotalTime>119</TotalTime>
  <Words>2279</Words>
  <Application>Microsoft Macintosh PowerPoint</Application>
  <PresentationFormat>Widescreen</PresentationFormat>
  <Paragraphs>274</Paragraphs>
  <Slides>40</Slides>
  <Notes>34</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2" baseType="lpstr">
      <vt:lpstr>Arial</vt:lpstr>
      <vt:lpstr>Arvo</vt:lpstr>
      <vt:lpstr>Calibri</vt:lpstr>
      <vt:lpstr>Calibri Light</vt:lpstr>
      <vt:lpstr>Open Sans</vt:lpstr>
      <vt:lpstr>Open Sans Light</vt:lpstr>
      <vt:lpstr>Roboto Slab Light</vt:lpstr>
      <vt:lpstr>Roboto Slab Thin</vt:lpstr>
      <vt:lpstr>Zoram ldsLat</vt:lpstr>
      <vt:lpstr>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o os alunos conseguem empregos</vt:lpstr>
      <vt:lpstr>Trabalhos Remot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subject/>
  <dc:creator>Usuário do Microsoft Office</dc:creator>
  <cp:keywords/>
  <dc:description/>
  <cp:lastModifiedBy>Brian T. Fogelberg</cp:lastModifiedBy>
  <cp:revision>132</cp:revision>
  <dcterms:created xsi:type="dcterms:W3CDTF">2017-08-29T20:07:10Z</dcterms:created>
  <dcterms:modified xsi:type="dcterms:W3CDTF">2024-01-31T17:18: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5FD9DCFAAD0A439D68C893F04135D8</vt:lpwstr>
  </property>
  <property fmtid="{D5CDD505-2E9C-101B-9397-08002B2CF9AE}" pid="3" name="TaxKeyword">
    <vt:lpwstr/>
  </property>
  <property fmtid="{D5CDD505-2E9C-101B-9397-08002B2CF9AE}" pid="4" name="MediaServiceImageTags">
    <vt:lpwstr/>
  </property>
</Properties>
</file>